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0" r:id="rId5"/>
  </p:sldMasterIdLst>
  <p:notesMasterIdLst>
    <p:notesMasterId r:id="rId18"/>
  </p:notesMasterIdLst>
  <p:sldIdLst>
    <p:sldId id="256" r:id="rId6"/>
    <p:sldId id="257" r:id="rId7"/>
    <p:sldId id="271" r:id="rId8"/>
    <p:sldId id="259" r:id="rId9"/>
    <p:sldId id="261" r:id="rId10"/>
    <p:sldId id="264" r:id="rId11"/>
    <p:sldId id="267" r:id="rId12"/>
    <p:sldId id="265" r:id="rId13"/>
    <p:sldId id="266" r:id="rId14"/>
    <p:sldId id="269" r:id="rId15"/>
    <p:sldId id="268" r:id="rId16"/>
    <p:sldId id="258" r:id="rId17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2" userDrawn="1">
          <p15:clr>
            <a:srgbClr val="A4A3A4"/>
          </p15:clr>
        </p15:guide>
        <p15:guide id="2" pos="3032" userDrawn="1">
          <p15:clr>
            <a:srgbClr val="A4A3A4"/>
          </p15:clr>
        </p15:guide>
        <p15:guide id="3" pos="6024" userDrawn="1">
          <p15:clr>
            <a:srgbClr val="A4A3A4"/>
          </p15:clr>
        </p15:guide>
        <p15:guide id="4" orient="horz" pos="24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B02A"/>
    <a:srgbClr val="92C1E9"/>
    <a:srgbClr val="616365"/>
    <a:srgbClr val="00569B"/>
    <a:srgbClr val="FFE366"/>
    <a:srgbClr val="058EFF"/>
    <a:srgbClr val="002942"/>
    <a:srgbClr val="00253F"/>
    <a:srgbClr val="001B2F"/>
    <a:srgbClr val="007C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74" autoAdjust="0"/>
    <p:restoredTop sz="92624" autoAdjust="0"/>
  </p:normalViewPr>
  <p:slideViewPr>
    <p:cSldViewPr snapToGrid="0" showGuides="1">
      <p:cViewPr varScale="1">
        <p:scale>
          <a:sx n="109" d="100"/>
          <a:sy n="109" d="100"/>
        </p:scale>
        <p:origin x="1100" y="52"/>
      </p:cViewPr>
      <p:guideLst>
        <p:guide orient="horz" pos="3912"/>
        <p:guide pos="3032"/>
        <p:guide pos="6024"/>
        <p:guide orient="horz" pos="24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6" d="100"/>
          <a:sy n="86" d="100"/>
        </p:scale>
        <p:origin x="3888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61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8143D25-42AC-489B-A090-871112967AAE}" type="datetimeFigureOut">
              <a:rPr lang="en-US" smtClean="0"/>
              <a:t>11/19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2B935C4-56E6-439A-ADDE-FA0DFE835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290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8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reeform 2"/>
          <p:cNvSpPr/>
          <p:nvPr userDrawn="1"/>
        </p:nvSpPr>
        <p:spPr>
          <a:xfrm>
            <a:off x="8145983" y="0"/>
            <a:ext cx="4046018" cy="6884299"/>
          </a:xfrm>
          <a:custGeom>
            <a:avLst/>
            <a:gdLst>
              <a:gd name="connsiteX0" fmla="*/ 2144389 w 4046018"/>
              <a:gd name="connsiteY0" fmla="*/ 0 h 6926782"/>
              <a:gd name="connsiteX1" fmla="*/ 4046018 w 4046018"/>
              <a:gd name="connsiteY1" fmla="*/ 0 h 6926782"/>
              <a:gd name="connsiteX2" fmla="*/ 4046018 w 4046018"/>
              <a:gd name="connsiteY2" fmla="*/ 6926782 h 6926782"/>
              <a:gd name="connsiteX3" fmla="*/ 0 w 4046018"/>
              <a:gd name="connsiteY3" fmla="*/ 6926782 h 6926782"/>
              <a:gd name="connsiteX4" fmla="*/ 2144389 w 4046018"/>
              <a:gd name="connsiteY4" fmla="*/ 0 h 6926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6018" h="6926782">
                <a:moveTo>
                  <a:pt x="2144389" y="0"/>
                </a:moveTo>
                <a:lnTo>
                  <a:pt x="4046018" y="0"/>
                </a:lnTo>
                <a:lnTo>
                  <a:pt x="4046018" y="6926782"/>
                </a:lnTo>
                <a:lnTo>
                  <a:pt x="0" y="6926782"/>
                </a:lnTo>
                <a:lnTo>
                  <a:pt x="2144389" y="0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97748" y="4073582"/>
            <a:ext cx="2614196" cy="1147496"/>
          </a:xfrm>
        </p:spPr>
        <p:txBody>
          <a:bodyPr lIns="91440" rIns="91440" anchor="t" anchorCtr="0">
            <a:noAutofit/>
          </a:bodyPr>
          <a:lstStyle>
            <a:lvl1pPr algn="r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9297747" y="5268013"/>
            <a:ext cx="2614196" cy="771525"/>
          </a:xfrm>
        </p:spPr>
        <p:txBody>
          <a:bodyPr lIns="91440" rIns="91440"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marL="234930" indent="0" algn="r">
              <a:buNone/>
              <a:defRPr sz="2000">
                <a:solidFill>
                  <a:schemeClr val="bg1"/>
                </a:solidFill>
              </a:defRPr>
            </a:lvl2pPr>
            <a:lvl3pPr marL="536535" indent="0" algn="r">
              <a:buNone/>
              <a:defRPr sz="2000">
                <a:solidFill>
                  <a:schemeClr val="bg1"/>
                </a:solidFill>
              </a:defRPr>
            </a:lvl3pPr>
            <a:lvl4pPr marL="847662" indent="0" algn="r">
              <a:buNone/>
              <a:defRPr sz="2000">
                <a:solidFill>
                  <a:schemeClr val="bg1"/>
                </a:solidFill>
              </a:defRPr>
            </a:lvl4pPr>
            <a:lvl5pPr marL="1146090" indent="0" algn="r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937019" y="3408653"/>
            <a:ext cx="1974926" cy="375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9297749" y="6161159"/>
            <a:ext cx="2614196" cy="487892"/>
          </a:xfrm>
        </p:spPr>
        <p:txBody>
          <a:bodyPr lIns="91440" rIns="91440" anchor="b" anchorCtr="0"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234930" indent="0" algn="r">
              <a:buNone/>
              <a:defRPr sz="2000">
                <a:solidFill>
                  <a:schemeClr val="bg1"/>
                </a:solidFill>
              </a:defRPr>
            </a:lvl2pPr>
            <a:lvl3pPr marL="536535" indent="0" algn="r">
              <a:buNone/>
              <a:defRPr sz="2000">
                <a:solidFill>
                  <a:schemeClr val="bg1"/>
                </a:solidFill>
              </a:defRPr>
            </a:lvl3pPr>
            <a:lvl4pPr marL="847662" indent="0" algn="r">
              <a:buNone/>
              <a:defRPr sz="2000">
                <a:solidFill>
                  <a:schemeClr val="bg1"/>
                </a:solidFill>
              </a:defRPr>
            </a:lvl4pPr>
            <a:lvl5pPr marL="1146090" indent="0" algn="r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Optional date</a:t>
            </a:r>
          </a:p>
        </p:txBody>
      </p:sp>
      <p:sp>
        <p:nvSpPr>
          <p:cNvPr id="18" name="Freeform 17"/>
          <p:cNvSpPr/>
          <p:nvPr userDrawn="1"/>
        </p:nvSpPr>
        <p:spPr>
          <a:xfrm>
            <a:off x="0" y="3412966"/>
            <a:ext cx="11036300" cy="3578553"/>
          </a:xfrm>
          <a:custGeom>
            <a:avLst/>
            <a:gdLst>
              <a:gd name="connsiteX0" fmla="*/ 12479866 w 12479866"/>
              <a:gd name="connsiteY0" fmla="*/ 3090333 h 3098800"/>
              <a:gd name="connsiteX1" fmla="*/ 0 w 12479866"/>
              <a:gd name="connsiteY1" fmla="*/ 0 h 3098800"/>
              <a:gd name="connsiteX2" fmla="*/ 0 w 12479866"/>
              <a:gd name="connsiteY2" fmla="*/ 3098800 h 3098800"/>
              <a:gd name="connsiteX3" fmla="*/ 12479866 w 12479866"/>
              <a:gd name="connsiteY3" fmla="*/ 3090333 h 309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9866" h="3098800">
                <a:moveTo>
                  <a:pt x="12479866" y="3090333"/>
                </a:moveTo>
                <a:lnTo>
                  <a:pt x="0" y="0"/>
                </a:lnTo>
                <a:lnTo>
                  <a:pt x="0" y="3098800"/>
                </a:lnTo>
                <a:lnTo>
                  <a:pt x="12479866" y="3090333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808103" y="6356354"/>
            <a:ext cx="3098800" cy="366713"/>
          </a:xfrm>
          <a:prstGeom prst="rect">
            <a:avLst/>
          </a:prstGeom>
        </p:spPr>
        <p:txBody>
          <a:bodyPr vert="horz" wrap="square" lIns="91434" tIns="45718" rIns="91434" bIns="45718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chemeClr val="tx2"/>
                </a:solidFill>
                <a:latin typeface="Arial" pitchFamily="34" charset="0"/>
                <a:ea typeface="Century Gothic" pitchFamily="34" charset="0"/>
                <a:cs typeface="Century Gothic" pitchFamily="34" charset="0"/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, Subtitle,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9029700" y="-20320"/>
            <a:ext cx="3162300" cy="6897370"/>
            <a:chOff x="9029700" y="-20320"/>
            <a:chExt cx="3162300" cy="6897370"/>
          </a:xfrm>
        </p:grpSpPr>
        <p:pic>
          <p:nvPicPr>
            <p:cNvPr id="1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029700" y="-19050"/>
              <a:ext cx="3162300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0" name="Rectangle 19"/>
            <p:cNvSpPr/>
            <p:nvPr userDrawn="1"/>
          </p:nvSpPr>
          <p:spPr>
            <a:xfrm>
              <a:off x="9029700" y="-20320"/>
              <a:ext cx="3162300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4" name="Freeform 13"/>
          <p:cNvSpPr/>
          <p:nvPr userDrawn="1"/>
        </p:nvSpPr>
        <p:spPr>
          <a:xfrm>
            <a:off x="-16184" y="-32368"/>
            <a:ext cx="11871016" cy="6918690"/>
          </a:xfrm>
          <a:custGeom>
            <a:avLst/>
            <a:gdLst>
              <a:gd name="connsiteX0" fmla="*/ 16184 w 11871016"/>
              <a:gd name="connsiteY0" fmla="*/ 0 h 6918690"/>
              <a:gd name="connsiteX1" fmla="*/ 11871016 w 11871016"/>
              <a:gd name="connsiteY1" fmla="*/ 0 h 6918690"/>
              <a:gd name="connsiteX2" fmla="*/ 9669982 w 11871016"/>
              <a:gd name="connsiteY2" fmla="*/ 6918690 h 6918690"/>
              <a:gd name="connsiteX3" fmla="*/ 0 w 11871016"/>
              <a:gd name="connsiteY3" fmla="*/ 6918690 h 6918690"/>
              <a:gd name="connsiteX4" fmla="*/ 16184 w 11871016"/>
              <a:gd name="connsiteY4" fmla="*/ 0 h 6918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71016" h="6918690">
                <a:moveTo>
                  <a:pt x="16184" y="0"/>
                </a:moveTo>
                <a:lnTo>
                  <a:pt x="11871016" y="0"/>
                </a:lnTo>
                <a:lnTo>
                  <a:pt x="9669982" y="6918690"/>
                </a:lnTo>
                <a:lnTo>
                  <a:pt x="0" y="6918690"/>
                </a:lnTo>
                <a:cubicBezTo>
                  <a:pt x="5395" y="4612460"/>
                  <a:pt x="10789" y="2306230"/>
                  <a:pt x="161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hidden="1"/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8" y="-20320"/>
            <a:ext cx="12192000" cy="68952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9332814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9332814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04800" y="1807698"/>
            <a:ext cx="9332814" cy="445340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wide blue_ Title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5979886" y="-20320"/>
            <a:ext cx="6212114" cy="6897370"/>
            <a:chOff x="5979886" y="-20320"/>
            <a:chExt cx="6212114" cy="6897370"/>
          </a:xfrm>
        </p:grpSpPr>
        <p:pic>
          <p:nvPicPr>
            <p:cNvPr id="13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79886" y="-19050"/>
              <a:ext cx="6212114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Rectangle 13"/>
            <p:cNvSpPr/>
            <p:nvPr userDrawn="1"/>
          </p:nvSpPr>
          <p:spPr>
            <a:xfrm>
              <a:off x="6090686" y="-20320"/>
              <a:ext cx="6101314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" name="Freeform 4"/>
          <p:cNvSpPr/>
          <p:nvPr userDrawn="1"/>
        </p:nvSpPr>
        <p:spPr>
          <a:xfrm>
            <a:off x="0" y="0"/>
            <a:ext cx="8876714" cy="6892388"/>
          </a:xfrm>
          <a:custGeom>
            <a:avLst/>
            <a:gdLst>
              <a:gd name="connsiteX0" fmla="*/ 8890782 w 8890782"/>
              <a:gd name="connsiteY0" fmla="*/ 0 h 6886136"/>
              <a:gd name="connsiteX1" fmla="*/ 0 w 8890782"/>
              <a:gd name="connsiteY1" fmla="*/ 0 h 6886136"/>
              <a:gd name="connsiteX2" fmla="*/ 0 w 8890782"/>
              <a:gd name="connsiteY2" fmla="*/ 5205046 h 6886136"/>
              <a:gd name="connsiteX3" fmla="*/ 0 w 8890782"/>
              <a:gd name="connsiteY3" fmla="*/ 6886136 h 6886136"/>
              <a:gd name="connsiteX4" fmla="*/ 6344530 w 8890782"/>
              <a:gd name="connsiteY4" fmla="*/ 6886136 h 6886136"/>
              <a:gd name="connsiteX5" fmla="*/ 8890782 w 8890782"/>
              <a:gd name="connsiteY5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90782" h="6886136">
                <a:moveTo>
                  <a:pt x="8890782" y="0"/>
                </a:moveTo>
                <a:lnTo>
                  <a:pt x="0" y="0"/>
                </a:lnTo>
                <a:lnTo>
                  <a:pt x="0" y="5205046"/>
                </a:lnTo>
                <a:lnTo>
                  <a:pt x="0" y="6886136"/>
                </a:lnTo>
                <a:lnTo>
                  <a:pt x="6344530" y="6886136"/>
                </a:lnTo>
                <a:lnTo>
                  <a:pt x="889078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8128000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wide blue_ Title, subtitle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5979886" y="-20320"/>
            <a:ext cx="6212114" cy="6897370"/>
            <a:chOff x="5979886" y="-20320"/>
            <a:chExt cx="6212114" cy="6897370"/>
          </a:xfrm>
        </p:grpSpPr>
        <p:pic>
          <p:nvPicPr>
            <p:cNvPr id="18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79886" y="-19050"/>
              <a:ext cx="6212114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18"/>
            <p:cNvSpPr/>
            <p:nvPr userDrawn="1"/>
          </p:nvSpPr>
          <p:spPr>
            <a:xfrm>
              <a:off x="6090686" y="-20320"/>
              <a:ext cx="6101314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4" name="Freeform 13"/>
          <p:cNvSpPr/>
          <p:nvPr userDrawn="1"/>
        </p:nvSpPr>
        <p:spPr>
          <a:xfrm>
            <a:off x="0" y="-20320"/>
            <a:ext cx="8876714" cy="6892388"/>
          </a:xfrm>
          <a:custGeom>
            <a:avLst/>
            <a:gdLst>
              <a:gd name="connsiteX0" fmla="*/ 8890782 w 8890782"/>
              <a:gd name="connsiteY0" fmla="*/ 0 h 6886136"/>
              <a:gd name="connsiteX1" fmla="*/ 0 w 8890782"/>
              <a:gd name="connsiteY1" fmla="*/ 0 h 6886136"/>
              <a:gd name="connsiteX2" fmla="*/ 0 w 8890782"/>
              <a:gd name="connsiteY2" fmla="*/ 5205046 h 6886136"/>
              <a:gd name="connsiteX3" fmla="*/ 0 w 8890782"/>
              <a:gd name="connsiteY3" fmla="*/ 6886136 h 6886136"/>
              <a:gd name="connsiteX4" fmla="*/ 6344530 w 8890782"/>
              <a:gd name="connsiteY4" fmla="*/ 6886136 h 6886136"/>
              <a:gd name="connsiteX5" fmla="*/ 8890782 w 8890782"/>
              <a:gd name="connsiteY5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90782" h="6886136">
                <a:moveTo>
                  <a:pt x="8890782" y="0"/>
                </a:moveTo>
                <a:lnTo>
                  <a:pt x="0" y="0"/>
                </a:lnTo>
                <a:lnTo>
                  <a:pt x="0" y="5205046"/>
                </a:lnTo>
                <a:lnTo>
                  <a:pt x="0" y="6886136"/>
                </a:lnTo>
                <a:lnTo>
                  <a:pt x="6344530" y="6886136"/>
                </a:lnTo>
                <a:lnTo>
                  <a:pt x="889078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8128000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7315200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wide blue_ Title, subtitle, Body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5979886" y="-20320"/>
            <a:ext cx="6212114" cy="6897370"/>
            <a:chOff x="5979886" y="-20320"/>
            <a:chExt cx="6212114" cy="6897370"/>
          </a:xfrm>
        </p:grpSpPr>
        <p:pic>
          <p:nvPicPr>
            <p:cNvPr id="18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79886" y="-19050"/>
              <a:ext cx="6212114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18"/>
            <p:cNvSpPr/>
            <p:nvPr userDrawn="1"/>
          </p:nvSpPr>
          <p:spPr>
            <a:xfrm>
              <a:off x="6090686" y="-20320"/>
              <a:ext cx="6101314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4" name="Freeform 13"/>
          <p:cNvSpPr/>
          <p:nvPr userDrawn="1"/>
        </p:nvSpPr>
        <p:spPr>
          <a:xfrm>
            <a:off x="0" y="-20320"/>
            <a:ext cx="8876714" cy="6892388"/>
          </a:xfrm>
          <a:custGeom>
            <a:avLst/>
            <a:gdLst>
              <a:gd name="connsiteX0" fmla="*/ 8890782 w 8890782"/>
              <a:gd name="connsiteY0" fmla="*/ 0 h 6886136"/>
              <a:gd name="connsiteX1" fmla="*/ 0 w 8890782"/>
              <a:gd name="connsiteY1" fmla="*/ 0 h 6886136"/>
              <a:gd name="connsiteX2" fmla="*/ 0 w 8890782"/>
              <a:gd name="connsiteY2" fmla="*/ 5205046 h 6886136"/>
              <a:gd name="connsiteX3" fmla="*/ 0 w 8890782"/>
              <a:gd name="connsiteY3" fmla="*/ 6886136 h 6886136"/>
              <a:gd name="connsiteX4" fmla="*/ 6344530 w 8890782"/>
              <a:gd name="connsiteY4" fmla="*/ 6886136 h 6886136"/>
              <a:gd name="connsiteX5" fmla="*/ 8890782 w 8890782"/>
              <a:gd name="connsiteY5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90782" h="6886136">
                <a:moveTo>
                  <a:pt x="8890782" y="0"/>
                </a:moveTo>
                <a:lnTo>
                  <a:pt x="0" y="0"/>
                </a:lnTo>
                <a:lnTo>
                  <a:pt x="0" y="5205046"/>
                </a:lnTo>
                <a:lnTo>
                  <a:pt x="0" y="6886136"/>
                </a:lnTo>
                <a:lnTo>
                  <a:pt x="6344530" y="6886136"/>
                </a:lnTo>
                <a:lnTo>
                  <a:pt x="889078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8128000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1808480"/>
            <a:ext cx="7315200" cy="4338320"/>
          </a:xfrm>
        </p:spPr>
        <p:txBody>
          <a:bodyPr/>
          <a:lstStyle>
            <a:lvl1pPr>
              <a:buClrTx/>
              <a:defRPr sz="2400"/>
            </a:lvl1pPr>
            <a:lvl2pPr>
              <a:buClrTx/>
              <a:defRPr sz="2000"/>
            </a:lvl2pPr>
            <a:lvl3pPr>
              <a:buClrTx/>
              <a:defRPr sz="1800"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8128000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, Colored text box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979886" y="-20320"/>
            <a:ext cx="6212114" cy="6897370"/>
            <a:chOff x="5979886" y="-20320"/>
            <a:chExt cx="6212114" cy="6897370"/>
          </a:xfrm>
        </p:grpSpPr>
        <p:pic>
          <p:nvPicPr>
            <p:cNvPr id="1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79886" y="-19050"/>
              <a:ext cx="6212114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0" name="Rectangle 19"/>
            <p:cNvSpPr/>
            <p:nvPr userDrawn="1"/>
          </p:nvSpPr>
          <p:spPr>
            <a:xfrm>
              <a:off x="6090686" y="-20320"/>
              <a:ext cx="6101314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" name="Freeform 4"/>
          <p:cNvSpPr/>
          <p:nvPr userDrawn="1"/>
        </p:nvSpPr>
        <p:spPr>
          <a:xfrm>
            <a:off x="0" y="-37905"/>
            <a:ext cx="11451102" cy="6909973"/>
          </a:xfrm>
          <a:custGeom>
            <a:avLst/>
            <a:gdLst>
              <a:gd name="connsiteX0" fmla="*/ 11451102 w 11451102"/>
              <a:gd name="connsiteY0" fmla="*/ 0 h 6886136"/>
              <a:gd name="connsiteX1" fmla="*/ 0 w 11451102"/>
              <a:gd name="connsiteY1" fmla="*/ 0 h 6886136"/>
              <a:gd name="connsiteX2" fmla="*/ 0 w 11451102"/>
              <a:gd name="connsiteY2" fmla="*/ 6886136 h 6886136"/>
              <a:gd name="connsiteX3" fmla="*/ 8918917 w 11451102"/>
              <a:gd name="connsiteY3" fmla="*/ 6886136 h 6886136"/>
              <a:gd name="connsiteX4" fmla="*/ 11451102 w 11451102"/>
              <a:gd name="connsiteY4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1102" h="6886136">
                <a:moveTo>
                  <a:pt x="11451102" y="0"/>
                </a:moveTo>
                <a:lnTo>
                  <a:pt x="0" y="0"/>
                </a:lnTo>
                <a:lnTo>
                  <a:pt x="0" y="6886136"/>
                </a:lnTo>
                <a:lnTo>
                  <a:pt x="8918917" y="6886136"/>
                </a:lnTo>
                <a:lnTo>
                  <a:pt x="1145110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887577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434905"/>
            <a:ext cx="8875777" cy="4711895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, subtitle, Colored text box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5979886" y="-20320"/>
            <a:ext cx="6212114" cy="6897370"/>
            <a:chOff x="5979886" y="-20320"/>
            <a:chExt cx="6212114" cy="6897370"/>
          </a:xfrm>
        </p:grpSpPr>
        <p:pic>
          <p:nvPicPr>
            <p:cNvPr id="13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79886" y="-19050"/>
              <a:ext cx="6212114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Rectangle 13"/>
            <p:cNvSpPr/>
            <p:nvPr userDrawn="1"/>
          </p:nvSpPr>
          <p:spPr>
            <a:xfrm>
              <a:off x="6090686" y="-20320"/>
              <a:ext cx="6101314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" name="Freeform 4"/>
          <p:cNvSpPr/>
          <p:nvPr userDrawn="1"/>
        </p:nvSpPr>
        <p:spPr>
          <a:xfrm>
            <a:off x="0" y="-37905"/>
            <a:ext cx="11451102" cy="6909973"/>
          </a:xfrm>
          <a:custGeom>
            <a:avLst/>
            <a:gdLst>
              <a:gd name="connsiteX0" fmla="*/ 11451102 w 11451102"/>
              <a:gd name="connsiteY0" fmla="*/ 0 h 6886136"/>
              <a:gd name="connsiteX1" fmla="*/ 0 w 11451102"/>
              <a:gd name="connsiteY1" fmla="*/ 0 h 6886136"/>
              <a:gd name="connsiteX2" fmla="*/ 0 w 11451102"/>
              <a:gd name="connsiteY2" fmla="*/ 6886136 h 6886136"/>
              <a:gd name="connsiteX3" fmla="*/ 8918917 w 11451102"/>
              <a:gd name="connsiteY3" fmla="*/ 6886136 h 6886136"/>
              <a:gd name="connsiteX4" fmla="*/ 11451102 w 11451102"/>
              <a:gd name="connsiteY4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1102" h="6886136">
                <a:moveTo>
                  <a:pt x="11451102" y="0"/>
                </a:moveTo>
                <a:lnTo>
                  <a:pt x="0" y="0"/>
                </a:lnTo>
                <a:lnTo>
                  <a:pt x="0" y="6886136"/>
                </a:lnTo>
                <a:lnTo>
                  <a:pt x="8918917" y="6886136"/>
                </a:lnTo>
                <a:lnTo>
                  <a:pt x="1145110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887577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808480"/>
            <a:ext cx="8875777" cy="4338320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8875776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, 2 colored 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5979886" y="-20320"/>
            <a:ext cx="6212114" cy="6897370"/>
            <a:chOff x="5979886" y="-20320"/>
            <a:chExt cx="6212114" cy="6897370"/>
          </a:xfrm>
        </p:grpSpPr>
        <p:pic>
          <p:nvPicPr>
            <p:cNvPr id="15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79886" y="-19050"/>
              <a:ext cx="6212114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Rectangle 15"/>
            <p:cNvSpPr/>
            <p:nvPr userDrawn="1"/>
          </p:nvSpPr>
          <p:spPr>
            <a:xfrm>
              <a:off x="6090686" y="-20320"/>
              <a:ext cx="6101314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" name="Freeform 12"/>
          <p:cNvSpPr/>
          <p:nvPr userDrawn="1"/>
        </p:nvSpPr>
        <p:spPr>
          <a:xfrm>
            <a:off x="0" y="-37905"/>
            <a:ext cx="11451102" cy="6909973"/>
          </a:xfrm>
          <a:custGeom>
            <a:avLst/>
            <a:gdLst>
              <a:gd name="connsiteX0" fmla="*/ 11451102 w 11451102"/>
              <a:gd name="connsiteY0" fmla="*/ 0 h 6886136"/>
              <a:gd name="connsiteX1" fmla="*/ 0 w 11451102"/>
              <a:gd name="connsiteY1" fmla="*/ 0 h 6886136"/>
              <a:gd name="connsiteX2" fmla="*/ 0 w 11451102"/>
              <a:gd name="connsiteY2" fmla="*/ 6886136 h 6886136"/>
              <a:gd name="connsiteX3" fmla="*/ 8918917 w 11451102"/>
              <a:gd name="connsiteY3" fmla="*/ 6886136 h 6886136"/>
              <a:gd name="connsiteX4" fmla="*/ 11451102 w 11451102"/>
              <a:gd name="connsiteY4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1102" h="6886136">
                <a:moveTo>
                  <a:pt x="11451102" y="0"/>
                </a:moveTo>
                <a:lnTo>
                  <a:pt x="0" y="0"/>
                </a:lnTo>
                <a:lnTo>
                  <a:pt x="0" y="6886136"/>
                </a:lnTo>
                <a:lnTo>
                  <a:pt x="8918917" y="6886136"/>
                </a:lnTo>
                <a:lnTo>
                  <a:pt x="1145110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0439398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499136"/>
            <a:ext cx="5483353" cy="4647664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0" y="1499136"/>
            <a:ext cx="5483353" cy="4647664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, subtitle, 2 colored 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5979886" y="-20320"/>
            <a:ext cx="6212114" cy="6897370"/>
            <a:chOff x="5979886" y="-20320"/>
            <a:chExt cx="6212114" cy="6897370"/>
          </a:xfrm>
        </p:grpSpPr>
        <p:pic>
          <p:nvPicPr>
            <p:cNvPr id="15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79886" y="-19050"/>
              <a:ext cx="6212114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Rectangle 15"/>
            <p:cNvSpPr/>
            <p:nvPr userDrawn="1"/>
          </p:nvSpPr>
          <p:spPr>
            <a:xfrm>
              <a:off x="6090686" y="-20320"/>
              <a:ext cx="6101314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" name="Freeform 12"/>
          <p:cNvSpPr/>
          <p:nvPr userDrawn="1"/>
        </p:nvSpPr>
        <p:spPr>
          <a:xfrm>
            <a:off x="0" y="-37905"/>
            <a:ext cx="11451102" cy="6909973"/>
          </a:xfrm>
          <a:custGeom>
            <a:avLst/>
            <a:gdLst>
              <a:gd name="connsiteX0" fmla="*/ 11451102 w 11451102"/>
              <a:gd name="connsiteY0" fmla="*/ 0 h 6886136"/>
              <a:gd name="connsiteX1" fmla="*/ 0 w 11451102"/>
              <a:gd name="connsiteY1" fmla="*/ 0 h 6886136"/>
              <a:gd name="connsiteX2" fmla="*/ 0 w 11451102"/>
              <a:gd name="connsiteY2" fmla="*/ 6886136 h 6886136"/>
              <a:gd name="connsiteX3" fmla="*/ 8918917 w 11451102"/>
              <a:gd name="connsiteY3" fmla="*/ 6886136 h 6886136"/>
              <a:gd name="connsiteX4" fmla="*/ 11451102 w 11451102"/>
              <a:gd name="connsiteY4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1102" h="6886136">
                <a:moveTo>
                  <a:pt x="11451102" y="0"/>
                </a:moveTo>
                <a:lnTo>
                  <a:pt x="0" y="0"/>
                </a:lnTo>
                <a:lnTo>
                  <a:pt x="0" y="6886136"/>
                </a:lnTo>
                <a:lnTo>
                  <a:pt x="8918917" y="6886136"/>
                </a:lnTo>
                <a:lnTo>
                  <a:pt x="1145110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0439398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808480"/>
            <a:ext cx="5483353" cy="4338320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0439398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0" y="1808480"/>
            <a:ext cx="5483353" cy="4338320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, 3 colored 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5979886" y="-20320"/>
            <a:ext cx="6212114" cy="6897370"/>
            <a:chOff x="5979886" y="-20320"/>
            <a:chExt cx="6212114" cy="6897370"/>
          </a:xfrm>
        </p:grpSpPr>
        <p:pic>
          <p:nvPicPr>
            <p:cNvPr id="18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79886" y="-19050"/>
              <a:ext cx="6212114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18"/>
            <p:cNvSpPr/>
            <p:nvPr userDrawn="1"/>
          </p:nvSpPr>
          <p:spPr>
            <a:xfrm>
              <a:off x="6090686" y="-20320"/>
              <a:ext cx="6101314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Freeform 15"/>
          <p:cNvSpPr/>
          <p:nvPr userDrawn="1"/>
        </p:nvSpPr>
        <p:spPr>
          <a:xfrm>
            <a:off x="0" y="-37905"/>
            <a:ext cx="11451102" cy="6909973"/>
          </a:xfrm>
          <a:custGeom>
            <a:avLst/>
            <a:gdLst>
              <a:gd name="connsiteX0" fmla="*/ 11451102 w 11451102"/>
              <a:gd name="connsiteY0" fmla="*/ 0 h 6886136"/>
              <a:gd name="connsiteX1" fmla="*/ 0 w 11451102"/>
              <a:gd name="connsiteY1" fmla="*/ 0 h 6886136"/>
              <a:gd name="connsiteX2" fmla="*/ 0 w 11451102"/>
              <a:gd name="connsiteY2" fmla="*/ 6886136 h 6886136"/>
              <a:gd name="connsiteX3" fmla="*/ 8918917 w 11451102"/>
              <a:gd name="connsiteY3" fmla="*/ 6886136 h 6886136"/>
              <a:gd name="connsiteX4" fmla="*/ 11451102 w 11451102"/>
              <a:gd name="connsiteY4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1102" h="6886136">
                <a:moveTo>
                  <a:pt x="11451102" y="0"/>
                </a:moveTo>
                <a:lnTo>
                  <a:pt x="0" y="0"/>
                </a:lnTo>
                <a:lnTo>
                  <a:pt x="0" y="6886136"/>
                </a:lnTo>
                <a:lnTo>
                  <a:pt x="8918917" y="6886136"/>
                </a:lnTo>
                <a:lnTo>
                  <a:pt x="1145110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0439398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1499136"/>
            <a:ext cx="3727704" cy="4647664"/>
          </a:xfrm>
          <a:solidFill>
            <a:schemeClr val="tx2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232148" y="1499136"/>
            <a:ext cx="3727704" cy="4647664"/>
          </a:xfrm>
          <a:solidFill>
            <a:schemeClr val="accent2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159496" y="1499136"/>
            <a:ext cx="3727704" cy="4647664"/>
          </a:xfrm>
          <a:solidFill>
            <a:schemeClr val="accent1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, subtitle, 3 colored 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5979886" y="-20320"/>
            <a:ext cx="6212114" cy="6897370"/>
            <a:chOff x="5979886" y="-20320"/>
            <a:chExt cx="6212114" cy="6897370"/>
          </a:xfrm>
        </p:grpSpPr>
        <p:pic>
          <p:nvPicPr>
            <p:cNvPr id="18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79886" y="-19050"/>
              <a:ext cx="6212114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18"/>
            <p:cNvSpPr/>
            <p:nvPr userDrawn="1"/>
          </p:nvSpPr>
          <p:spPr>
            <a:xfrm>
              <a:off x="6090686" y="-20320"/>
              <a:ext cx="6101314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Freeform 15"/>
          <p:cNvSpPr/>
          <p:nvPr userDrawn="1"/>
        </p:nvSpPr>
        <p:spPr>
          <a:xfrm>
            <a:off x="0" y="-37905"/>
            <a:ext cx="11451102" cy="6909973"/>
          </a:xfrm>
          <a:custGeom>
            <a:avLst/>
            <a:gdLst>
              <a:gd name="connsiteX0" fmla="*/ 11451102 w 11451102"/>
              <a:gd name="connsiteY0" fmla="*/ 0 h 6886136"/>
              <a:gd name="connsiteX1" fmla="*/ 0 w 11451102"/>
              <a:gd name="connsiteY1" fmla="*/ 0 h 6886136"/>
              <a:gd name="connsiteX2" fmla="*/ 0 w 11451102"/>
              <a:gd name="connsiteY2" fmla="*/ 6886136 h 6886136"/>
              <a:gd name="connsiteX3" fmla="*/ 8918917 w 11451102"/>
              <a:gd name="connsiteY3" fmla="*/ 6886136 h 6886136"/>
              <a:gd name="connsiteX4" fmla="*/ 11451102 w 11451102"/>
              <a:gd name="connsiteY4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1102" h="6886136">
                <a:moveTo>
                  <a:pt x="11451102" y="0"/>
                </a:moveTo>
                <a:lnTo>
                  <a:pt x="0" y="0"/>
                </a:lnTo>
                <a:lnTo>
                  <a:pt x="0" y="6886136"/>
                </a:lnTo>
                <a:lnTo>
                  <a:pt x="8918917" y="6886136"/>
                </a:lnTo>
                <a:lnTo>
                  <a:pt x="1145110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0439398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0439398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1679510"/>
            <a:ext cx="3727704" cy="4467290"/>
          </a:xfrm>
          <a:solidFill>
            <a:schemeClr val="tx2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232148" y="1679510"/>
            <a:ext cx="3727704" cy="4467290"/>
          </a:xfrm>
          <a:solidFill>
            <a:schemeClr val="accent2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159496" y="1679510"/>
            <a:ext cx="3727704" cy="4467290"/>
          </a:xfrm>
          <a:solidFill>
            <a:schemeClr val="accent1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-8020" y="-16183"/>
            <a:ext cx="4243563" cy="6902507"/>
          </a:xfrm>
          <a:custGeom>
            <a:avLst/>
            <a:gdLst>
              <a:gd name="connsiteX0" fmla="*/ 0 w 8278152"/>
              <a:gd name="connsiteY0" fmla="*/ 0 h 6902506"/>
              <a:gd name="connsiteX1" fmla="*/ 0 w 8278152"/>
              <a:gd name="connsiteY1" fmla="*/ 6902506 h 6902506"/>
              <a:gd name="connsiteX2" fmla="*/ 6133763 w 8278152"/>
              <a:gd name="connsiteY2" fmla="*/ 6902506 h 6902506"/>
              <a:gd name="connsiteX3" fmla="*/ 8278152 w 8278152"/>
              <a:gd name="connsiteY3" fmla="*/ 0 h 6902506"/>
              <a:gd name="connsiteX4" fmla="*/ 0 w 8278152"/>
              <a:gd name="connsiteY4" fmla="*/ 0 h 6902506"/>
              <a:gd name="connsiteX0" fmla="*/ 4339390 w 8278152"/>
              <a:gd name="connsiteY0" fmla="*/ 0 h 6902506"/>
              <a:gd name="connsiteX1" fmla="*/ 0 w 8278152"/>
              <a:gd name="connsiteY1" fmla="*/ 6902506 h 6902506"/>
              <a:gd name="connsiteX2" fmla="*/ 6133763 w 8278152"/>
              <a:gd name="connsiteY2" fmla="*/ 6902506 h 6902506"/>
              <a:gd name="connsiteX3" fmla="*/ 8278152 w 8278152"/>
              <a:gd name="connsiteY3" fmla="*/ 0 h 6902506"/>
              <a:gd name="connsiteX4" fmla="*/ 4339390 w 8278152"/>
              <a:gd name="connsiteY4" fmla="*/ 0 h 6902506"/>
              <a:gd name="connsiteX0" fmla="*/ 4034590 w 8278152"/>
              <a:gd name="connsiteY0" fmla="*/ 16042 h 6902506"/>
              <a:gd name="connsiteX1" fmla="*/ 0 w 8278152"/>
              <a:gd name="connsiteY1" fmla="*/ 6902506 h 6902506"/>
              <a:gd name="connsiteX2" fmla="*/ 6133763 w 8278152"/>
              <a:gd name="connsiteY2" fmla="*/ 6902506 h 6902506"/>
              <a:gd name="connsiteX3" fmla="*/ 8278152 w 8278152"/>
              <a:gd name="connsiteY3" fmla="*/ 0 h 6902506"/>
              <a:gd name="connsiteX4" fmla="*/ 4034590 w 8278152"/>
              <a:gd name="connsiteY4" fmla="*/ 16042 h 6902506"/>
              <a:gd name="connsiteX0" fmla="*/ 0 w 4243562"/>
              <a:gd name="connsiteY0" fmla="*/ 16042 h 6902506"/>
              <a:gd name="connsiteX1" fmla="*/ 96252 w 4243562"/>
              <a:gd name="connsiteY1" fmla="*/ 6902506 h 6902506"/>
              <a:gd name="connsiteX2" fmla="*/ 2099173 w 4243562"/>
              <a:gd name="connsiteY2" fmla="*/ 6902506 h 6902506"/>
              <a:gd name="connsiteX3" fmla="*/ 4243562 w 4243562"/>
              <a:gd name="connsiteY3" fmla="*/ 0 h 6902506"/>
              <a:gd name="connsiteX4" fmla="*/ 0 w 4243562"/>
              <a:gd name="connsiteY4" fmla="*/ 16042 h 6902506"/>
              <a:gd name="connsiteX0" fmla="*/ 1 w 4243563"/>
              <a:gd name="connsiteY0" fmla="*/ 16042 h 6902506"/>
              <a:gd name="connsiteX1" fmla="*/ 0 w 4243563"/>
              <a:gd name="connsiteY1" fmla="*/ 6862401 h 6902506"/>
              <a:gd name="connsiteX2" fmla="*/ 2099174 w 4243563"/>
              <a:gd name="connsiteY2" fmla="*/ 6902506 h 6902506"/>
              <a:gd name="connsiteX3" fmla="*/ 4243563 w 4243563"/>
              <a:gd name="connsiteY3" fmla="*/ 0 h 6902506"/>
              <a:gd name="connsiteX4" fmla="*/ 1 w 4243563"/>
              <a:gd name="connsiteY4" fmla="*/ 16042 h 6902506"/>
              <a:gd name="connsiteX0" fmla="*/ 1 w 4243563"/>
              <a:gd name="connsiteY0" fmla="*/ 16042 h 6902506"/>
              <a:gd name="connsiteX1" fmla="*/ 0 w 4243563"/>
              <a:gd name="connsiteY1" fmla="*/ 6894485 h 6902506"/>
              <a:gd name="connsiteX2" fmla="*/ 2099174 w 4243563"/>
              <a:gd name="connsiteY2" fmla="*/ 6902506 h 6902506"/>
              <a:gd name="connsiteX3" fmla="*/ 4243563 w 4243563"/>
              <a:gd name="connsiteY3" fmla="*/ 0 h 6902506"/>
              <a:gd name="connsiteX4" fmla="*/ 1 w 4243563"/>
              <a:gd name="connsiteY4" fmla="*/ 16042 h 6902506"/>
              <a:gd name="connsiteX0" fmla="*/ 0 w 4243562"/>
              <a:gd name="connsiteY0" fmla="*/ 16042 h 6902506"/>
              <a:gd name="connsiteX1" fmla="*/ 8020 w 4243562"/>
              <a:gd name="connsiteY1" fmla="*/ 6878443 h 6902506"/>
              <a:gd name="connsiteX2" fmla="*/ 2099173 w 4243562"/>
              <a:gd name="connsiteY2" fmla="*/ 6902506 h 6902506"/>
              <a:gd name="connsiteX3" fmla="*/ 4243562 w 4243562"/>
              <a:gd name="connsiteY3" fmla="*/ 0 h 6902506"/>
              <a:gd name="connsiteX4" fmla="*/ 0 w 4243562"/>
              <a:gd name="connsiteY4" fmla="*/ 16042 h 69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3562" h="6902506">
                <a:moveTo>
                  <a:pt x="0" y="16042"/>
                </a:moveTo>
                <a:cubicBezTo>
                  <a:pt x="0" y="2298162"/>
                  <a:pt x="8020" y="4596323"/>
                  <a:pt x="8020" y="6878443"/>
                </a:cubicBezTo>
                <a:lnTo>
                  <a:pt x="2099173" y="6902506"/>
                </a:lnTo>
                <a:lnTo>
                  <a:pt x="4243562" y="0"/>
                </a:lnTo>
                <a:lnTo>
                  <a:pt x="0" y="160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322270"/>
            <a:ext cx="3585411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187723" y="6356359"/>
            <a:ext cx="4692047" cy="3667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7" name="Picture 10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54732" y="6384927"/>
            <a:ext cx="1118769" cy="206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203031" y="1168403"/>
            <a:ext cx="7315200" cy="5371309"/>
          </a:xfrm>
        </p:spPr>
        <p:txBody>
          <a:bodyPr/>
          <a:lstStyle>
            <a:lvl1pPr>
              <a:spcAft>
                <a:spcPts val="1200"/>
              </a:spcAft>
              <a:buClrTx/>
              <a:defRPr sz="2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buClrTx/>
              <a:defRPr sz="20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buClrTx/>
              <a:defRPr sz="19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buClrTx/>
              <a:defRPr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buClrTx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55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8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6125671" y="-32368"/>
            <a:ext cx="6085210" cy="6934874"/>
          </a:xfrm>
          <a:custGeom>
            <a:avLst/>
            <a:gdLst>
              <a:gd name="connsiteX0" fmla="*/ 2152481 w 6085210"/>
              <a:gd name="connsiteY0" fmla="*/ 0 h 6934874"/>
              <a:gd name="connsiteX1" fmla="*/ 0 w 6085210"/>
              <a:gd name="connsiteY1" fmla="*/ 6934874 h 6934874"/>
              <a:gd name="connsiteX2" fmla="*/ 6085210 w 6085210"/>
              <a:gd name="connsiteY2" fmla="*/ 6934874 h 6934874"/>
              <a:gd name="connsiteX3" fmla="*/ 6085210 w 6085210"/>
              <a:gd name="connsiteY3" fmla="*/ 16184 h 6934874"/>
              <a:gd name="connsiteX4" fmla="*/ 2152481 w 6085210"/>
              <a:gd name="connsiteY4" fmla="*/ 0 h 6934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5210" h="6934874">
                <a:moveTo>
                  <a:pt x="2152481" y="0"/>
                </a:moveTo>
                <a:lnTo>
                  <a:pt x="0" y="6934874"/>
                </a:lnTo>
                <a:lnTo>
                  <a:pt x="6085210" y="6934874"/>
                </a:lnTo>
                <a:lnTo>
                  <a:pt x="6085210" y="16184"/>
                </a:lnTo>
                <a:lnTo>
                  <a:pt x="2152481" y="0"/>
                </a:lnTo>
                <a:close/>
              </a:path>
            </a:pathLst>
          </a:custGeom>
          <a:solidFill>
            <a:schemeClr val="tx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4471" y="2597488"/>
            <a:ext cx="3932730" cy="1055367"/>
          </a:xfrm>
        </p:spPr>
        <p:txBody>
          <a:bodyPr anchor="ctr" anchorCtr="0"/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7954471" y="3810000"/>
            <a:ext cx="3932730" cy="2032000"/>
          </a:xfrm>
        </p:spPr>
        <p:txBody>
          <a:bodyPr/>
          <a:lstStyle>
            <a:lvl1pPr marL="0" indent="0">
              <a:spcAft>
                <a:spcPts val="200"/>
              </a:spcAft>
              <a:buClr>
                <a:srgbClr val="FFE366"/>
              </a:buClr>
              <a:buFont typeface="Wingdings" charset="2"/>
              <a:buNone/>
              <a:defRPr sz="2000">
                <a:solidFill>
                  <a:schemeClr val="bg1"/>
                </a:solidFill>
              </a:defRPr>
            </a:lvl1pPr>
            <a:lvl2pPr marL="234930" indent="0">
              <a:spcAft>
                <a:spcPts val="200"/>
              </a:spcAft>
              <a:buClr>
                <a:srgbClr val="FFE366"/>
              </a:buClr>
              <a:buFont typeface="Wingdings" charset="2"/>
              <a:buNone/>
              <a:defRPr sz="1800">
                <a:solidFill>
                  <a:schemeClr val="bg1"/>
                </a:solidFill>
              </a:defRPr>
            </a:lvl2pPr>
            <a:lvl3pPr marL="536535" indent="0">
              <a:spcAft>
                <a:spcPts val="200"/>
              </a:spcAft>
              <a:buClr>
                <a:srgbClr val="FFE366"/>
              </a:buClr>
              <a:buFont typeface="Wingdings" charset="2"/>
              <a:buNone/>
              <a:defRPr sz="1600">
                <a:solidFill>
                  <a:schemeClr val="bg1"/>
                </a:solidFill>
              </a:defRPr>
            </a:lvl3pPr>
            <a:lvl4pPr marL="847662" indent="0">
              <a:spcAft>
                <a:spcPts val="200"/>
              </a:spcAft>
              <a:buClr>
                <a:srgbClr val="FFE366"/>
              </a:buClr>
              <a:buFont typeface="Wingdings" charset="2"/>
              <a:buNone/>
              <a:defRPr sz="1600">
                <a:solidFill>
                  <a:schemeClr val="bg1"/>
                </a:solidFill>
              </a:defRPr>
            </a:lvl4pPr>
            <a:lvl5pPr marL="1146090" indent="0">
              <a:spcAft>
                <a:spcPts val="200"/>
              </a:spcAft>
              <a:buClr>
                <a:srgbClr val="FFE366"/>
              </a:buClr>
              <a:buFont typeface="Wingdings" charset="2"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7605" y="6327187"/>
            <a:ext cx="1432770" cy="272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Freeform 13"/>
          <p:cNvSpPr/>
          <p:nvPr userDrawn="1"/>
        </p:nvSpPr>
        <p:spPr>
          <a:xfrm>
            <a:off x="0" y="3403600"/>
            <a:ext cx="11036300" cy="3471333"/>
          </a:xfrm>
          <a:custGeom>
            <a:avLst/>
            <a:gdLst>
              <a:gd name="connsiteX0" fmla="*/ 12479866 w 12479866"/>
              <a:gd name="connsiteY0" fmla="*/ 3090333 h 3098800"/>
              <a:gd name="connsiteX1" fmla="*/ 0 w 12479866"/>
              <a:gd name="connsiteY1" fmla="*/ 0 h 3098800"/>
              <a:gd name="connsiteX2" fmla="*/ 0 w 12479866"/>
              <a:gd name="connsiteY2" fmla="*/ 3098800 h 3098800"/>
              <a:gd name="connsiteX3" fmla="*/ 12479866 w 12479866"/>
              <a:gd name="connsiteY3" fmla="*/ 3090333 h 309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9866" h="3098800">
                <a:moveTo>
                  <a:pt x="12479866" y="3090333"/>
                </a:moveTo>
                <a:lnTo>
                  <a:pt x="0" y="0"/>
                </a:lnTo>
                <a:lnTo>
                  <a:pt x="0" y="3098800"/>
                </a:lnTo>
                <a:lnTo>
                  <a:pt x="12479866" y="3090333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ul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ull_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10628" y="-20320"/>
            <a:ext cx="12202628" cy="6897370"/>
            <a:chOff x="-10628" y="-20320"/>
            <a:chExt cx="12202628" cy="6897370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9050"/>
              <a:ext cx="12192000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tangle 9"/>
            <p:cNvSpPr/>
            <p:nvPr userDrawn="1"/>
          </p:nvSpPr>
          <p:spPr>
            <a:xfrm>
              <a:off x="-10628" y="-20320"/>
              <a:ext cx="12202628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full_Titl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9767456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full_Title with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10628" y="-20320"/>
            <a:ext cx="12202628" cy="6897370"/>
            <a:chOff x="-10628" y="-20320"/>
            <a:chExt cx="12202628" cy="6897370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9050"/>
              <a:ext cx="12192000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tangle 9"/>
            <p:cNvSpPr/>
            <p:nvPr userDrawn="1"/>
          </p:nvSpPr>
          <p:spPr>
            <a:xfrm>
              <a:off x="-10628" y="-20320"/>
              <a:ext cx="12202628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9767456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ull_Title,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322268"/>
            <a:ext cx="11023107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023106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full_title, subtitle with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-10628" y="-20320"/>
            <a:ext cx="12202628" cy="6897370"/>
            <a:chOff x="-10628" y="-20320"/>
            <a:chExt cx="12202628" cy="6897370"/>
          </a:xfrm>
        </p:grpSpPr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9050"/>
              <a:ext cx="12192000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Rectangle 12"/>
            <p:cNvSpPr/>
            <p:nvPr userDrawn="1"/>
          </p:nvSpPr>
          <p:spPr>
            <a:xfrm>
              <a:off x="-10628" y="-20320"/>
              <a:ext cx="12202628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322268"/>
            <a:ext cx="11023107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023106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ull_Title, bo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322268"/>
            <a:ext cx="11140965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8" y="1524000"/>
            <a:ext cx="11140967" cy="4622800"/>
          </a:xfrm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ull_Title, subtitle, bo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322268"/>
            <a:ext cx="11023107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023106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8" y="1679510"/>
            <a:ext cx="11023107" cy="4467290"/>
          </a:xfrm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ull_Title, 2 colum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322268"/>
            <a:ext cx="11239503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477108"/>
            <a:ext cx="5448302" cy="4669692"/>
          </a:xfrm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0" y="1477108"/>
            <a:ext cx="5448302" cy="4669692"/>
          </a:xfrm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0" y="-16184"/>
            <a:ext cx="8278152" cy="6902506"/>
          </a:xfrm>
          <a:custGeom>
            <a:avLst/>
            <a:gdLst>
              <a:gd name="connsiteX0" fmla="*/ 0 w 8278152"/>
              <a:gd name="connsiteY0" fmla="*/ 0 h 6902506"/>
              <a:gd name="connsiteX1" fmla="*/ 0 w 8278152"/>
              <a:gd name="connsiteY1" fmla="*/ 6902506 h 6902506"/>
              <a:gd name="connsiteX2" fmla="*/ 6133763 w 8278152"/>
              <a:gd name="connsiteY2" fmla="*/ 6902506 h 6902506"/>
              <a:gd name="connsiteX3" fmla="*/ 8278152 w 8278152"/>
              <a:gd name="connsiteY3" fmla="*/ 0 h 6902506"/>
              <a:gd name="connsiteX4" fmla="*/ 0 w 8278152"/>
              <a:gd name="connsiteY4" fmla="*/ 0 h 69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78152" h="6902506">
                <a:moveTo>
                  <a:pt x="0" y="0"/>
                </a:moveTo>
                <a:lnTo>
                  <a:pt x="0" y="6902506"/>
                </a:lnTo>
                <a:lnTo>
                  <a:pt x="6133763" y="6902506"/>
                </a:lnTo>
                <a:lnTo>
                  <a:pt x="827815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6532970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7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2158189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559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ull_Title, subtitle, 2 colum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322268"/>
            <a:ext cx="11239503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239502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679510"/>
            <a:ext cx="5448302" cy="4467290"/>
          </a:xfrm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0" y="1679510"/>
            <a:ext cx="5448302" cy="4467290"/>
          </a:xfrm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7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 Title,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524000"/>
            <a:ext cx="11316587" cy="4622800"/>
          </a:xfrm>
        </p:spPr>
        <p:txBody>
          <a:bodyPr/>
          <a:lstStyle>
            <a:lvl1pPr>
              <a:buClrTx/>
              <a:defRPr sz="24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1800"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316586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, subtitle,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316586" cy="34578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679510"/>
            <a:ext cx="11316587" cy="4467290"/>
          </a:xfrm>
        </p:spPr>
        <p:txBody>
          <a:bodyPr/>
          <a:lstStyle>
            <a:lvl1pPr>
              <a:buClrTx/>
              <a:defRPr sz="24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1800"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,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456006"/>
            <a:ext cx="5537201" cy="4690794"/>
          </a:xfrm>
        </p:spPr>
        <p:txBody>
          <a:bodyPr/>
          <a:lstStyle>
            <a:lvl1pPr>
              <a:buClrTx/>
              <a:defRPr sz="24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1800"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0" y="1456006"/>
            <a:ext cx="5537201" cy="4690794"/>
          </a:xfrm>
        </p:spPr>
        <p:txBody>
          <a:bodyPr/>
          <a:lstStyle>
            <a:lvl1pPr>
              <a:buClrTx/>
              <a:defRPr sz="24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1800"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 full_Title, subtitle,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316586" cy="34578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679510"/>
            <a:ext cx="5537201" cy="4467290"/>
          </a:xfrm>
        </p:spPr>
        <p:txBody>
          <a:bodyPr/>
          <a:lstStyle>
            <a:lvl1pPr>
              <a:buClrTx/>
              <a:defRPr sz="24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1800"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0" y="1679510"/>
            <a:ext cx="5537201" cy="4467290"/>
          </a:xfrm>
        </p:spPr>
        <p:txBody>
          <a:bodyPr/>
          <a:lstStyle>
            <a:lvl1pPr>
              <a:buClrTx/>
              <a:defRPr sz="24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1800"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, colore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0" y="3403600"/>
            <a:ext cx="11036300" cy="3471333"/>
          </a:xfrm>
          <a:custGeom>
            <a:avLst/>
            <a:gdLst>
              <a:gd name="connsiteX0" fmla="*/ 12479866 w 12479866"/>
              <a:gd name="connsiteY0" fmla="*/ 3090333 h 3098800"/>
              <a:gd name="connsiteX1" fmla="*/ 0 w 12479866"/>
              <a:gd name="connsiteY1" fmla="*/ 0 h 3098800"/>
              <a:gd name="connsiteX2" fmla="*/ 0 w 12479866"/>
              <a:gd name="connsiteY2" fmla="*/ 3098800 h 3098800"/>
              <a:gd name="connsiteX3" fmla="*/ 12479866 w 12479866"/>
              <a:gd name="connsiteY3" fmla="*/ 3090333 h 309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9866" h="3098800">
                <a:moveTo>
                  <a:pt x="12479866" y="3090333"/>
                </a:moveTo>
                <a:lnTo>
                  <a:pt x="0" y="0"/>
                </a:lnTo>
                <a:lnTo>
                  <a:pt x="0" y="3098800"/>
                </a:lnTo>
                <a:lnTo>
                  <a:pt x="12479866" y="3090333"/>
                </a:lnTo>
                <a:close/>
              </a:path>
            </a:pathLst>
          </a:custGeom>
          <a:solidFill>
            <a:srgbClr val="616365">
              <a:alpha val="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427871"/>
            <a:ext cx="11316587" cy="4718929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, subtitle, colore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0" y="3403600"/>
            <a:ext cx="11036300" cy="3471333"/>
          </a:xfrm>
          <a:custGeom>
            <a:avLst/>
            <a:gdLst>
              <a:gd name="connsiteX0" fmla="*/ 12479866 w 12479866"/>
              <a:gd name="connsiteY0" fmla="*/ 3090333 h 3098800"/>
              <a:gd name="connsiteX1" fmla="*/ 0 w 12479866"/>
              <a:gd name="connsiteY1" fmla="*/ 0 h 3098800"/>
              <a:gd name="connsiteX2" fmla="*/ 0 w 12479866"/>
              <a:gd name="connsiteY2" fmla="*/ 3098800 h 3098800"/>
              <a:gd name="connsiteX3" fmla="*/ 12479866 w 12479866"/>
              <a:gd name="connsiteY3" fmla="*/ 3090333 h 309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9866" h="3098800">
                <a:moveTo>
                  <a:pt x="12479866" y="3090333"/>
                </a:moveTo>
                <a:lnTo>
                  <a:pt x="0" y="0"/>
                </a:lnTo>
                <a:lnTo>
                  <a:pt x="0" y="3098800"/>
                </a:lnTo>
                <a:lnTo>
                  <a:pt x="12479866" y="3090333"/>
                </a:lnTo>
                <a:close/>
              </a:path>
            </a:pathLst>
          </a:custGeom>
          <a:solidFill>
            <a:srgbClr val="616365">
              <a:alpha val="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316586" cy="34578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679510"/>
            <a:ext cx="11316587" cy="4467290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, 2 colored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0" y="3403600"/>
            <a:ext cx="11036300" cy="3471333"/>
          </a:xfrm>
          <a:custGeom>
            <a:avLst/>
            <a:gdLst>
              <a:gd name="connsiteX0" fmla="*/ 12479866 w 12479866"/>
              <a:gd name="connsiteY0" fmla="*/ 3090333 h 3098800"/>
              <a:gd name="connsiteX1" fmla="*/ 0 w 12479866"/>
              <a:gd name="connsiteY1" fmla="*/ 0 h 3098800"/>
              <a:gd name="connsiteX2" fmla="*/ 0 w 12479866"/>
              <a:gd name="connsiteY2" fmla="*/ 3098800 h 3098800"/>
              <a:gd name="connsiteX3" fmla="*/ 12479866 w 12479866"/>
              <a:gd name="connsiteY3" fmla="*/ 3090333 h 309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9866" h="3098800">
                <a:moveTo>
                  <a:pt x="12479866" y="3090333"/>
                </a:moveTo>
                <a:lnTo>
                  <a:pt x="0" y="0"/>
                </a:lnTo>
                <a:lnTo>
                  <a:pt x="0" y="3098800"/>
                </a:lnTo>
                <a:lnTo>
                  <a:pt x="12479866" y="3090333"/>
                </a:lnTo>
                <a:close/>
              </a:path>
            </a:pathLst>
          </a:custGeom>
          <a:solidFill>
            <a:srgbClr val="616365">
              <a:alpha val="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456006"/>
            <a:ext cx="5537201" cy="4690794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0" y="1456006"/>
            <a:ext cx="5537201" cy="4690794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ransparent_Title and Body_Picture righ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149"/>
          <a:stretch/>
        </p:blipFill>
        <p:spPr>
          <a:xfrm>
            <a:off x="2493818" y="-28124"/>
            <a:ext cx="9698182" cy="692324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3006436" y="-28124"/>
            <a:ext cx="1870364" cy="6923247"/>
          </a:xfrm>
          <a:prstGeom prst="rect">
            <a:avLst/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8"/>
          <p:cNvSpPr/>
          <p:nvPr userDrawn="1"/>
        </p:nvSpPr>
        <p:spPr>
          <a:xfrm>
            <a:off x="0" y="-16184"/>
            <a:ext cx="8278152" cy="6902506"/>
          </a:xfrm>
          <a:custGeom>
            <a:avLst/>
            <a:gdLst>
              <a:gd name="connsiteX0" fmla="*/ 0 w 8278152"/>
              <a:gd name="connsiteY0" fmla="*/ 0 h 6902506"/>
              <a:gd name="connsiteX1" fmla="*/ 0 w 8278152"/>
              <a:gd name="connsiteY1" fmla="*/ 6902506 h 6902506"/>
              <a:gd name="connsiteX2" fmla="*/ 6133763 w 8278152"/>
              <a:gd name="connsiteY2" fmla="*/ 6902506 h 6902506"/>
              <a:gd name="connsiteX3" fmla="*/ 8278152 w 8278152"/>
              <a:gd name="connsiteY3" fmla="*/ 0 h 6902506"/>
              <a:gd name="connsiteX4" fmla="*/ 0 w 8278152"/>
              <a:gd name="connsiteY4" fmla="*/ 0 h 69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78152" h="6902506">
                <a:moveTo>
                  <a:pt x="0" y="0"/>
                </a:moveTo>
                <a:lnTo>
                  <a:pt x="0" y="6902506"/>
                </a:lnTo>
                <a:lnTo>
                  <a:pt x="6133763" y="6902506"/>
                </a:lnTo>
                <a:lnTo>
                  <a:pt x="827815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8128000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1507011"/>
            <a:ext cx="7315200" cy="4639789"/>
          </a:xfrm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, subtitle, 2 colored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0" y="3403600"/>
            <a:ext cx="11036300" cy="3471333"/>
          </a:xfrm>
          <a:custGeom>
            <a:avLst/>
            <a:gdLst>
              <a:gd name="connsiteX0" fmla="*/ 12479866 w 12479866"/>
              <a:gd name="connsiteY0" fmla="*/ 3090333 h 3098800"/>
              <a:gd name="connsiteX1" fmla="*/ 0 w 12479866"/>
              <a:gd name="connsiteY1" fmla="*/ 0 h 3098800"/>
              <a:gd name="connsiteX2" fmla="*/ 0 w 12479866"/>
              <a:gd name="connsiteY2" fmla="*/ 3098800 h 3098800"/>
              <a:gd name="connsiteX3" fmla="*/ 12479866 w 12479866"/>
              <a:gd name="connsiteY3" fmla="*/ 3090333 h 309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9866" h="3098800">
                <a:moveTo>
                  <a:pt x="12479866" y="3090333"/>
                </a:moveTo>
                <a:lnTo>
                  <a:pt x="0" y="0"/>
                </a:lnTo>
                <a:lnTo>
                  <a:pt x="0" y="3098800"/>
                </a:lnTo>
                <a:lnTo>
                  <a:pt x="12479866" y="3090333"/>
                </a:lnTo>
                <a:close/>
              </a:path>
            </a:pathLst>
          </a:custGeom>
          <a:solidFill>
            <a:srgbClr val="616365">
              <a:alpha val="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316586" cy="34578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799" y="1679510"/>
            <a:ext cx="5537201" cy="4467290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0" y="1679510"/>
            <a:ext cx="5537201" cy="4467290"/>
          </a:xfrm>
          <a:solidFill>
            <a:schemeClr val="accent1"/>
          </a:solidFill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, 3 colored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0" y="3403600"/>
            <a:ext cx="11036300" cy="3471333"/>
          </a:xfrm>
          <a:custGeom>
            <a:avLst/>
            <a:gdLst>
              <a:gd name="connsiteX0" fmla="*/ 12479866 w 12479866"/>
              <a:gd name="connsiteY0" fmla="*/ 3090333 h 3098800"/>
              <a:gd name="connsiteX1" fmla="*/ 0 w 12479866"/>
              <a:gd name="connsiteY1" fmla="*/ 0 h 3098800"/>
              <a:gd name="connsiteX2" fmla="*/ 0 w 12479866"/>
              <a:gd name="connsiteY2" fmla="*/ 3098800 h 3098800"/>
              <a:gd name="connsiteX3" fmla="*/ 12479866 w 12479866"/>
              <a:gd name="connsiteY3" fmla="*/ 3090333 h 309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9866" h="3098800">
                <a:moveTo>
                  <a:pt x="12479866" y="3090333"/>
                </a:moveTo>
                <a:lnTo>
                  <a:pt x="0" y="0"/>
                </a:lnTo>
                <a:lnTo>
                  <a:pt x="0" y="3098800"/>
                </a:lnTo>
                <a:lnTo>
                  <a:pt x="12479866" y="3090333"/>
                </a:lnTo>
                <a:close/>
              </a:path>
            </a:pathLst>
          </a:custGeom>
          <a:solidFill>
            <a:srgbClr val="616365">
              <a:alpha val="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1441938"/>
            <a:ext cx="3727704" cy="4704862"/>
          </a:xfrm>
          <a:solidFill>
            <a:schemeClr val="tx2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232148" y="1441938"/>
            <a:ext cx="3727704" cy="4704862"/>
          </a:xfrm>
          <a:solidFill>
            <a:schemeClr val="accent2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159496" y="1441938"/>
            <a:ext cx="3727704" cy="4704862"/>
          </a:xfrm>
          <a:solidFill>
            <a:schemeClr val="accent1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_Title, subtitle, 3 colored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0" y="3403600"/>
            <a:ext cx="11036300" cy="3471333"/>
          </a:xfrm>
          <a:custGeom>
            <a:avLst/>
            <a:gdLst>
              <a:gd name="connsiteX0" fmla="*/ 12479866 w 12479866"/>
              <a:gd name="connsiteY0" fmla="*/ 3090333 h 3098800"/>
              <a:gd name="connsiteX1" fmla="*/ 0 w 12479866"/>
              <a:gd name="connsiteY1" fmla="*/ 0 h 3098800"/>
              <a:gd name="connsiteX2" fmla="*/ 0 w 12479866"/>
              <a:gd name="connsiteY2" fmla="*/ 3098800 h 3098800"/>
              <a:gd name="connsiteX3" fmla="*/ 12479866 w 12479866"/>
              <a:gd name="connsiteY3" fmla="*/ 3090333 h 309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9866" h="3098800">
                <a:moveTo>
                  <a:pt x="12479866" y="3090333"/>
                </a:moveTo>
                <a:lnTo>
                  <a:pt x="0" y="0"/>
                </a:lnTo>
                <a:lnTo>
                  <a:pt x="0" y="3098800"/>
                </a:lnTo>
                <a:lnTo>
                  <a:pt x="12479866" y="3090333"/>
                </a:lnTo>
                <a:close/>
              </a:path>
            </a:pathLst>
          </a:custGeom>
          <a:solidFill>
            <a:srgbClr val="616365">
              <a:alpha val="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316586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1316586" cy="34578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1679510"/>
            <a:ext cx="3727704" cy="4467290"/>
          </a:xfrm>
          <a:solidFill>
            <a:schemeClr val="tx2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232148" y="1679510"/>
            <a:ext cx="3727704" cy="4467290"/>
          </a:xfrm>
          <a:solidFill>
            <a:schemeClr val="accent2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159496" y="1679510"/>
            <a:ext cx="3727704" cy="4467290"/>
          </a:xfrm>
          <a:solidFill>
            <a:schemeClr val="accent1"/>
          </a:solidFill>
        </p:spPr>
        <p:txBody>
          <a:bodyPr/>
          <a:lstStyle>
            <a:lvl1pPr>
              <a:buClrTx/>
              <a:defRPr sz="2000">
                <a:solidFill>
                  <a:schemeClr val="bg1"/>
                </a:solidFill>
              </a:defRPr>
            </a:lvl1pPr>
            <a:lvl2pPr>
              <a:buClrTx/>
              <a:defRPr sz="18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10628" y="-20320"/>
            <a:ext cx="12202628" cy="6897370"/>
            <a:chOff x="-10628" y="-20320"/>
            <a:chExt cx="12202628" cy="6897370"/>
          </a:xfrm>
        </p:grpSpPr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9050"/>
              <a:ext cx="12192000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Rectangle 14"/>
            <p:cNvSpPr/>
            <p:nvPr userDrawn="1"/>
          </p:nvSpPr>
          <p:spPr>
            <a:xfrm>
              <a:off x="-10628" y="-20320"/>
              <a:ext cx="12202628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" name="Freeform 11"/>
          <p:cNvSpPr/>
          <p:nvPr userDrawn="1"/>
        </p:nvSpPr>
        <p:spPr>
          <a:xfrm>
            <a:off x="0" y="-14068"/>
            <a:ext cx="8876714" cy="6886136"/>
          </a:xfrm>
          <a:custGeom>
            <a:avLst/>
            <a:gdLst>
              <a:gd name="connsiteX0" fmla="*/ 8890782 w 8890782"/>
              <a:gd name="connsiteY0" fmla="*/ 0 h 6886136"/>
              <a:gd name="connsiteX1" fmla="*/ 0 w 8890782"/>
              <a:gd name="connsiteY1" fmla="*/ 0 h 6886136"/>
              <a:gd name="connsiteX2" fmla="*/ 0 w 8890782"/>
              <a:gd name="connsiteY2" fmla="*/ 5205046 h 6886136"/>
              <a:gd name="connsiteX3" fmla="*/ 0 w 8890782"/>
              <a:gd name="connsiteY3" fmla="*/ 6886136 h 6886136"/>
              <a:gd name="connsiteX4" fmla="*/ 6344530 w 8890782"/>
              <a:gd name="connsiteY4" fmla="*/ 6886136 h 6886136"/>
              <a:gd name="connsiteX5" fmla="*/ 8890782 w 8890782"/>
              <a:gd name="connsiteY5" fmla="*/ 0 h 688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90782" h="6886136">
                <a:moveTo>
                  <a:pt x="8890782" y="0"/>
                </a:moveTo>
                <a:lnTo>
                  <a:pt x="0" y="0"/>
                </a:lnTo>
                <a:lnTo>
                  <a:pt x="0" y="5205046"/>
                </a:lnTo>
                <a:lnTo>
                  <a:pt x="0" y="6886136"/>
                </a:lnTo>
                <a:lnTo>
                  <a:pt x="6344530" y="6886136"/>
                </a:lnTo>
                <a:lnTo>
                  <a:pt x="889078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304800" y="317900"/>
            <a:ext cx="7122367" cy="846133"/>
          </a:xfrm>
          <a:prstGeom prst="rect">
            <a:avLst/>
          </a:prstGeom>
        </p:spPr>
        <p:txBody>
          <a:bodyPr vert="horz" lIns="91434" tIns="45718" rIns="91434" bIns="45718" rtlCol="0" anchor="b" anchorCtr="0">
            <a:noAutofit/>
          </a:bodyPr>
          <a:lstStyle>
            <a:lvl1pPr algn="l" defTabSz="91274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200" b="1" kern="1200" cap="none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91274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" pitchFamily="34" charset="0"/>
              </a:defRPr>
            </a:lvl2pPr>
            <a:lvl3pPr algn="l" defTabSz="91274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" pitchFamily="34" charset="0"/>
              </a:defRPr>
            </a:lvl3pPr>
            <a:lvl4pPr algn="l" defTabSz="91274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" pitchFamily="34" charset="0"/>
              </a:defRPr>
            </a:lvl4pPr>
            <a:lvl5pPr algn="l" defTabSz="91274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" pitchFamily="34" charset="0"/>
              </a:defRPr>
            </a:lvl5pPr>
            <a:lvl6pPr marL="457167" algn="l" defTabSz="91274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" pitchFamily="34" charset="0"/>
              </a:defRPr>
            </a:lvl6pPr>
            <a:lvl7pPr marL="914332" algn="l" defTabSz="91274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" pitchFamily="34" charset="0"/>
              </a:defRPr>
            </a:lvl7pPr>
            <a:lvl8pPr marL="1371498" algn="l" defTabSz="91274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" pitchFamily="34" charset="0"/>
              </a:defRPr>
            </a:lvl8pPr>
            <a:lvl9pPr marL="1828664" algn="l" defTabSz="91274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Contact: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38510" y="3480318"/>
            <a:ext cx="3040057" cy="57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497718"/>
            <a:ext cx="7122367" cy="1129868"/>
          </a:xfrm>
        </p:spPr>
        <p:txBody>
          <a:bodyPr anchor="ctr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2948756"/>
            <a:ext cx="6282612" cy="3198043"/>
          </a:xfrm>
        </p:spPr>
        <p:txBody>
          <a:bodyPr/>
          <a:lstStyle>
            <a:lvl1pPr marL="0" indent="0">
              <a:buClrTx/>
              <a:buNone/>
              <a:defRPr sz="2000"/>
            </a:lvl1pPr>
            <a:lvl2pPr marL="234930" indent="0">
              <a:buClrTx/>
              <a:buNone/>
              <a:defRPr sz="1800"/>
            </a:lvl2pPr>
            <a:lvl3pPr marL="536535" indent="0">
              <a:buClrTx/>
              <a:buNone/>
              <a:defRPr sz="1600"/>
            </a:lvl3pPr>
            <a:lvl4pPr marL="847662" indent="0">
              <a:buClrTx/>
              <a:buNone/>
              <a:defRPr sz="1600"/>
            </a:lvl4pPr>
            <a:lvl5pPr marL="1146090" indent="0">
              <a:buClr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full_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10628" y="-20320"/>
            <a:ext cx="12202628" cy="6897370"/>
            <a:chOff x="-10628" y="-20320"/>
            <a:chExt cx="12202628" cy="6897370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9050"/>
              <a:ext cx="12192000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tangle 9"/>
            <p:cNvSpPr/>
            <p:nvPr userDrawn="1"/>
          </p:nvSpPr>
          <p:spPr>
            <a:xfrm>
              <a:off x="-10628" y="-20320"/>
              <a:ext cx="12202628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95030" y="3026302"/>
            <a:ext cx="4212567" cy="802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-16184"/>
            <a:ext cx="8278152" cy="6902506"/>
          </a:xfrm>
          <a:custGeom>
            <a:avLst/>
            <a:gdLst>
              <a:gd name="connsiteX0" fmla="*/ 0 w 8278152"/>
              <a:gd name="connsiteY0" fmla="*/ 0 h 6902506"/>
              <a:gd name="connsiteX1" fmla="*/ 0 w 8278152"/>
              <a:gd name="connsiteY1" fmla="*/ 6902506 h 6902506"/>
              <a:gd name="connsiteX2" fmla="*/ 6133763 w 8278152"/>
              <a:gd name="connsiteY2" fmla="*/ 6902506 h 6902506"/>
              <a:gd name="connsiteX3" fmla="*/ 8278152 w 8278152"/>
              <a:gd name="connsiteY3" fmla="*/ 0 h 6902506"/>
              <a:gd name="connsiteX4" fmla="*/ 0 w 8278152"/>
              <a:gd name="connsiteY4" fmla="*/ 0 h 69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78152" h="6902506">
                <a:moveTo>
                  <a:pt x="0" y="0"/>
                </a:moveTo>
                <a:lnTo>
                  <a:pt x="0" y="6902506"/>
                </a:lnTo>
                <a:lnTo>
                  <a:pt x="6133763" y="6902506"/>
                </a:lnTo>
                <a:lnTo>
                  <a:pt x="827815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8128000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1507011"/>
            <a:ext cx="7315200" cy="4639789"/>
          </a:xfrm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itle, Subhead,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-16184"/>
            <a:ext cx="8278152" cy="6902506"/>
          </a:xfrm>
          <a:custGeom>
            <a:avLst/>
            <a:gdLst>
              <a:gd name="connsiteX0" fmla="*/ 0 w 8278152"/>
              <a:gd name="connsiteY0" fmla="*/ 0 h 6902506"/>
              <a:gd name="connsiteX1" fmla="*/ 0 w 8278152"/>
              <a:gd name="connsiteY1" fmla="*/ 6902506 h 6902506"/>
              <a:gd name="connsiteX2" fmla="*/ 6133763 w 8278152"/>
              <a:gd name="connsiteY2" fmla="*/ 6902506 h 6902506"/>
              <a:gd name="connsiteX3" fmla="*/ 8278152 w 8278152"/>
              <a:gd name="connsiteY3" fmla="*/ 0 h 6902506"/>
              <a:gd name="connsiteX4" fmla="*/ 0 w 8278152"/>
              <a:gd name="connsiteY4" fmla="*/ 0 h 69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78152" h="6902506">
                <a:moveTo>
                  <a:pt x="0" y="0"/>
                </a:moveTo>
                <a:lnTo>
                  <a:pt x="0" y="6902506"/>
                </a:lnTo>
                <a:lnTo>
                  <a:pt x="6133763" y="6902506"/>
                </a:lnTo>
                <a:lnTo>
                  <a:pt x="827815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8128000" cy="846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1808480"/>
            <a:ext cx="7315200" cy="4338320"/>
          </a:xfrm>
        </p:spPr>
        <p:txBody>
          <a:bodyPr/>
          <a:lstStyle>
            <a:lvl1pPr>
              <a:buClrTx/>
              <a:defRPr sz="2400">
                <a:solidFill>
                  <a:schemeClr val="bg1"/>
                </a:solidFill>
              </a:defRPr>
            </a:lvl1pPr>
            <a:lvl2pPr>
              <a:buClrTx/>
              <a:defRPr sz="2000">
                <a:solidFill>
                  <a:schemeClr val="bg1"/>
                </a:solidFill>
              </a:defRPr>
            </a:lvl2pPr>
            <a:lvl3pPr>
              <a:buClrTx/>
              <a:defRPr sz="18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7315200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0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-16184"/>
            <a:ext cx="8278152" cy="6902506"/>
          </a:xfrm>
          <a:custGeom>
            <a:avLst/>
            <a:gdLst>
              <a:gd name="connsiteX0" fmla="*/ 0 w 8278152"/>
              <a:gd name="connsiteY0" fmla="*/ 0 h 6902506"/>
              <a:gd name="connsiteX1" fmla="*/ 0 w 8278152"/>
              <a:gd name="connsiteY1" fmla="*/ 6902506 h 6902506"/>
              <a:gd name="connsiteX2" fmla="*/ 6133763 w 8278152"/>
              <a:gd name="connsiteY2" fmla="*/ 6902506 h 6902506"/>
              <a:gd name="connsiteX3" fmla="*/ 8278152 w 8278152"/>
              <a:gd name="connsiteY3" fmla="*/ 0 h 6902506"/>
              <a:gd name="connsiteX4" fmla="*/ 0 w 8278152"/>
              <a:gd name="connsiteY4" fmla="*/ 0 h 690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78152" h="6902506">
                <a:moveTo>
                  <a:pt x="0" y="0"/>
                </a:moveTo>
                <a:lnTo>
                  <a:pt x="0" y="6902506"/>
                </a:lnTo>
                <a:lnTo>
                  <a:pt x="6133763" y="6902506"/>
                </a:lnTo>
                <a:lnTo>
                  <a:pt x="827815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800" y="789709"/>
            <a:ext cx="7315200" cy="5357091"/>
          </a:xfrm>
        </p:spPr>
        <p:txBody>
          <a:bodyPr anchor="ctr" anchorCtr="0"/>
          <a:lstStyle>
            <a:lvl1pPr marL="0" indent="0" algn="l">
              <a:buClrTx/>
              <a:buNone/>
              <a:defRPr sz="3200">
                <a:solidFill>
                  <a:schemeClr val="bg1"/>
                </a:solidFill>
              </a:defRPr>
            </a:lvl1pPr>
            <a:lvl2pPr marL="234950" indent="0" algn="l">
              <a:buClrTx/>
              <a:buNone/>
              <a:defRPr sz="2800">
                <a:solidFill>
                  <a:schemeClr val="bg1"/>
                </a:solidFill>
              </a:defRPr>
            </a:lvl2pPr>
            <a:lvl3pPr marL="457200" indent="0" algn="l">
              <a:buClrTx/>
              <a:buNone/>
              <a:defRPr sz="2400">
                <a:solidFill>
                  <a:schemeClr val="bg1"/>
                </a:solidFill>
              </a:defRPr>
            </a:lvl3pPr>
            <a:lvl4pPr marL="687388" indent="0" algn="l">
              <a:buClrTx/>
              <a:buNone/>
              <a:defRPr sz="2400">
                <a:solidFill>
                  <a:schemeClr val="bg1"/>
                </a:solidFill>
              </a:defRPr>
            </a:lvl4pPr>
            <a:lvl5pPr marL="915988" indent="0" algn="l">
              <a:buClr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6384925"/>
            <a:ext cx="1146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9029700" y="-20320"/>
            <a:ext cx="3162300" cy="6897370"/>
            <a:chOff x="9029700" y="-20320"/>
            <a:chExt cx="3162300" cy="6897370"/>
          </a:xfrm>
        </p:grpSpPr>
        <p:pic>
          <p:nvPicPr>
            <p:cNvPr id="11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029700" y="-19050"/>
              <a:ext cx="3162300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Rectangle 11"/>
            <p:cNvSpPr/>
            <p:nvPr userDrawn="1"/>
          </p:nvSpPr>
          <p:spPr>
            <a:xfrm>
              <a:off x="9029700" y="-20320"/>
              <a:ext cx="3162300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" name="Freeform 6"/>
          <p:cNvSpPr/>
          <p:nvPr userDrawn="1"/>
        </p:nvSpPr>
        <p:spPr>
          <a:xfrm>
            <a:off x="-16184" y="-32368"/>
            <a:ext cx="11871016" cy="6918690"/>
          </a:xfrm>
          <a:custGeom>
            <a:avLst/>
            <a:gdLst>
              <a:gd name="connsiteX0" fmla="*/ 16184 w 11871016"/>
              <a:gd name="connsiteY0" fmla="*/ 0 h 6918690"/>
              <a:gd name="connsiteX1" fmla="*/ 11871016 w 11871016"/>
              <a:gd name="connsiteY1" fmla="*/ 0 h 6918690"/>
              <a:gd name="connsiteX2" fmla="*/ 9669982 w 11871016"/>
              <a:gd name="connsiteY2" fmla="*/ 6918690 h 6918690"/>
              <a:gd name="connsiteX3" fmla="*/ 0 w 11871016"/>
              <a:gd name="connsiteY3" fmla="*/ 6918690 h 6918690"/>
              <a:gd name="connsiteX4" fmla="*/ 16184 w 11871016"/>
              <a:gd name="connsiteY4" fmla="*/ 0 h 6918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71016" h="6918690">
                <a:moveTo>
                  <a:pt x="16184" y="0"/>
                </a:moveTo>
                <a:lnTo>
                  <a:pt x="11871016" y="0"/>
                </a:lnTo>
                <a:lnTo>
                  <a:pt x="9669982" y="6918690"/>
                </a:lnTo>
                <a:lnTo>
                  <a:pt x="0" y="6918690"/>
                </a:lnTo>
                <a:cubicBezTo>
                  <a:pt x="5395" y="4612460"/>
                  <a:pt x="10789" y="2306230"/>
                  <a:pt x="161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0439399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9029700" y="-20320"/>
            <a:ext cx="3162300" cy="6897370"/>
            <a:chOff x="9029700" y="-20320"/>
            <a:chExt cx="3162300" cy="6897370"/>
          </a:xfrm>
        </p:grpSpPr>
        <p:pic>
          <p:nvPicPr>
            <p:cNvPr id="17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029700" y="-19050"/>
              <a:ext cx="3162300" cy="68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Rectangle 17"/>
            <p:cNvSpPr/>
            <p:nvPr userDrawn="1"/>
          </p:nvSpPr>
          <p:spPr>
            <a:xfrm>
              <a:off x="9029700" y="-20320"/>
              <a:ext cx="3162300" cy="6895253"/>
            </a:xfrm>
            <a:prstGeom prst="rect">
              <a:avLst/>
            </a:prstGeom>
            <a:solidFill>
              <a:schemeClr val="tx2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" name="Freeform 6"/>
          <p:cNvSpPr/>
          <p:nvPr userDrawn="1"/>
        </p:nvSpPr>
        <p:spPr>
          <a:xfrm>
            <a:off x="-16184" y="-32368"/>
            <a:ext cx="11871016" cy="6918690"/>
          </a:xfrm>
          <a:custGeom>
            <a:avLst/>
            <a:gdLst>
              <a:gd name="connsiteX0" fmla="*/ 16184 w 11871016"/>
              <a:gd name="connsiteY0" fmla="*/ 0 h 6918690"/>
              <a:gd name="connsiteX1" fmla="*/ 11871016 w 11871016"/>
              <a:gd name="connsiteY1" fmla="*/ 0 h 6918690"/>
              <a:gd name="connsiteX2" fmla="*/ 9669982 w 11871016"/>
              <a:gd name="connsiteY2" fmla="*/ 6918690 h 6918690"/>
              <a:gd name="connsiteX3" fmla="*/ 0 w 11871016"/>
              <a:gd name="connsiteY3" fmla="*/ 6918690 h 6918690"/>
              <a:gd name="connsiteX4" fmla="*/ 16184 w 11871016"/>
              <a:gd name="connsiteY4" fmla="*/ 0 h 6918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71016" h="6918690">
                <a:moveTo>
                  <a:pt x="16184" y="0"/>
                </a:moveTo>
                <a:lnTo>
                  <a:pt x="11871016" y="0"/>
                </a:lnTo>
                <a:lnTo>
                  <a:pt x="9669982" y="6918690"/>
                </a:lnTo>
                <a:lnTo>
                  <a:pt x="0" y="6918690"/>
                </a:lnTo>
                <a:cubicBezTo>
                  <a:pt x="5395" y="4612460"/>
                  <a:pt x="10789" y="2306230"/>
                  <a:pt x="161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22268"/>
            <a:ext cx="10479092" cy="84613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4199" y="6381750"/>
            <a:ext cx="1146175" cy="21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1168400"/>
            <a:ext cx="10479092" cy="3556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2"/>
                </a:solidFill>
              </a:defRPr>
            </a:lvl1pPr>
            <a:lvl2pPr marL="234930" indent="0">
              <a:buNone/>
              <a:defRPr sz="2000">
                <a:solidFill>
                  <a:schemeClr val="accent1"/>
                </a:solidFill>
              </a:defRPr>
            </a:lvl2pPr>
            <a:lvl3pPr marL="536535" indent="0">
              <a:buNone/>
              <a:defRPr sz="2000">
                <a:solidFill>
                  <a:schemeClr val="accent1"/>
                </a:solidFill>
              </a:defRPr>
            </a:lvl3pPr>
            <a:lvl4pPr marL="847662" indent="0">
              <a:buNone/>
              <a:defRPr sz="1600">
                <a:solidFill>
                  <a:schemeClr val="accent1"/>
                </a:solidFill>
              </a:defRPr>
            </a:lvl4pPr>
            <a:lvl5pPr marL="1146090" indent="0"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/>
          <p:cNvGraphicFramePr>
            <a:graphicFrameLocks noChangeAspect="1"/>
          </p:cNvGraphicFramePr>
          <p:nvPr userDrawn="1">
            <p:custDataLst>
              <p:tags r:id="rId4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"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512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808103" y="6356354"/>
            <a:ext cx="3098800" cy="366713"/>
          </a:xfrm>
          <a:prstGeom prst="rect">
            <a:avLst/>
          </a:prstGeom>
        </p:spPr>
        <p:txBody>
          <a:bodyPr vert="horz" wrap="square" lIns="91434" tIns="45718" rIns="91434" bIns="45718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004165"/>
                </a:solidFill>
                <a:latin typeface="Arial" pitchFamily="34" charset="0"/>
                <a:ea typeface="Century Gothic" pitchFamily="34" charset="0"/>
                <a:cs typeface="Century Gothic" pitchFamily="34" charset="0"/>
              </a:defRPr>
            </a:lvl1pPr>
          </a:lstStyle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5124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304800" y="1524001"/>
            <a:ext cx="11582400" cy="4389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304800" y="322268"/>
            <a:ext cx="11582400" cy="846133"/>
          </a:xfrm>
          <a:prstGeom prst="rect">
            <a:avLst/>
          </a:prstGeom>
        </p:spPr>
        <p:txBody>
          <a:bodyPr vert="horz" lIns="91434" tIns="45718" rIns="91434" bIns="45718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222234" y="6356354"/>
            <a:ext cx="466725" cy="366713"/>
          </a:xfrm>
          <a:prstGeom prst="rect">
            <a:avLst/>
          </a:prstGeom>
        </p:spPr>
        <p:txBody>
          <a:bodyPr vert="horz" wrap="none" lIns="91434" tIns="45718" rIns="91440" bIns="45718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solidFill>
                  <a:srgbClr val="004165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60289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71" r:id="rId2"/>
    <p:sldLayoutId id="2147483781" r:id="rId3"/>
    <p:sldLayoutId id="2147483845" r:id="rId4"/>
    <p:sldLayoutId id="2147483844" r:id="rId5"/>
    <p:sldLayoutId id="2147483808" r:id="rId6"/>
    <p:sldLayoutId id="2147483846" r:id="rId7"/>
    <p:sldLayoutId id="2147483841" r:id="rId8"/>
    <p:sldLayoutId id="2147483840" r:id="rId9"/>
    <p:sldLayoutId id="2147483798" r:id="rId10"/>
    <p:sldLayoutId id="2147483786" r:id="rId11"/>
    <p:sldLayoutId id="2147483809" r:id="rId12"/>
    <p:sldLayoutId id="2147483847" r:id="rId13"/>
    <p:sldLayoutId id="2147483833" r:id="rId14"/>
    <p:sldLayoutId id="2147483848" r:id="rId15"/>
    <p:sldLayoutId id="2147483837" r:id="rId16"/>
    <p:sldLayoutId id="2147483849" r:id="rId17"/>
    <p:sldLayoutId id="2147483836" r:id="rId18"/>
    <p:sldLayoutId id="2147483850" r:id="rId19"/>
    <p:sldLayoutId id="2147483826" r:id="rId20"/>
    <p:sldLayoutId id="2147483782" r:id="rId21"/>
    <p:sldLayoutId id="2147483851" r:id="rId22"/>
    <p:sldLayoutId id="2147483864" r:id="rId23"/>
    <p:sldLayoutId id="2147483865" r:id="rId24"/>
    <p:sldLayoutId id="2147483797" r:id="rId25"/>
    <p:sldLayoutId id="2147483872" r:id="rId26"/>
    <p:sldLayoutId id="2147483815" r:id="rId27"/>
    <p:sldLayoutId id="2147483816" r:id="rId28"/>
    <p:sldLayoutId id="2147483830" r:id="rId29"/>
    <p:sldLayoutId id="2147483853" r:id="rId30"/>
    <p:sldLayoutId id="2147483791" r:id="rId31"/>
    <p:sldLayoutId id="2147483813" r:id="rId32"/>
    <p:sldLayoutId id="2147483812" r:id="rId33"/>
    <p:sldLayoutId id="2147483814" r:id="rId34"/>
    <p:sldLayoutId id="2147483828" r:id="rId35"/>
    <p:sldLayoutId id="2147483860" r:id="rId36"/>
    <p:sldLayoutId id="2147483829" r:id="rId37"/>
    <p:sldLayoutId id="2147483861" r:id="rId38"/>
    <p:sldLayoutId id="2147483839" r:id="rId39"/>
    <p:sldLayoutId id="2147483863" r:id="rId40"/>
    <p:sldLayoutId id="2147483834" r:id="rId41"/>
    <p:sldLayoutId id="2147483862" r:id="rId42"/>
    <p:sldLayoutId id="2147483817" r:id="rId43"/>
    <p:sldLayoutId id="2147483870" r:id="rId44"/>
  </p:sldLayoutIdLst>
  <p:transition spd="med">
    <p:fade/>
  </p:transition>
  <p:hf hdr="0" dt="0"/>
  <p:txStyles>
    <p:titleStyle>
      <a:lvl1pPr algn="l" defTabSz="91274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200" b="1" kern="1200" cap="none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274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" pitchFamily="34" charset="0"/>
        </a:defRPr>
      </a:lvl2pPr>
      <a:lvl3pPr algn="l" defTabSz="91274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" pitchFamily="34" charset="0"/>
        </a:defRPr>
      </a:lvl3pPr>
      <a:lvl4pPr algn="l" defTabSz="91274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" pitchFamily="34" charset="0"/>
        </a:defRPr>
      </a:lvl4pPr>
      <a:lvl5pPr algn="l" defTabSz="91274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" pitchFamily="34" charset="0"/>
        </a:defRPr>
      </a:lvl5pPr>
      <a:lvl6pPr marL="457167" algn="l" defTabSz="91274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" pitchFamily="34" charset="0"/>
        </a:defRPr>
      </a:lvl6pPr>
      <a:lvl7pPr marL="914332" algn="l" defTabSz="91274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" pitchFamily="34" charset="0"/>
        </a:defRPr>
      </a:lvl7pPr>
      <a:lvl8pPr marL="1371498" algn="l" defTabSz="91274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" pitchFamily="34" charset="0"/>
        </a:defRPr>
      </a:lvl8pPr>
      <a:lvl9pPr marL="1828664" algn="l" defTabSz="91274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" pitchFamily="34" charset="0"/>
        </a:defRPr>
      </a:lvl9pPr>
    </p:titleStyle>
    <p:bodyStyle>
      <a:lvl1pPr marL="226997" indent="-226997" algn="l" defTabSz="912745" rtl="0" eaLnBrk="0" fontAlgn="base" hangingPunct="0">
        <a:lnSpc>
          <a:spcPct val="110000"/>
        </a:lnSpc>
        <a:spcBef>
          <a:spcPts val="800"/>
        </a:spcBef>
        <a:spcAft>
          <a:spcPct val="0"/>
        </a:spcAft>
        <a:buClrTx/>
        <a:buSzPct val="110000"/>
        <a:buFont typeface="Wingdings" charset="2"/>
        <a:buChar char="§"/>
        <a:defRPr lang="en-US" sz="27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222250" algn="l" defTabSz="91274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Pct val="110000"/>
        <a:buFont typeface="Wingdings" charset="2"/>
        <a:buChar char="§"/>
        <a:tabLst/>
        <a:defRPr lang="en-US" sz="24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687388" indent="-230188" algn="l" defTabSz="91274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Pct val="110000"/>
        <a:buFont typeface="Wingdings" charset="2"/>
        <a:buChar char="§"/>
        <a:tabLst/>
        <a:defRPr lang="en-US" sz="21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915988" indent="-228600" algn="l" defTabSz="91274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Pct val="110000"/>
        <a:buFont typeface="Wingdings" charset="2"/>
        <a:buChar char="§"/>
        <a:tabLst/>
        <a:defRPr lang="en-US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1144588" indent="-228600" algn="l" defTabSz="91274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Pct val="110000"/>
        <a:buFont typeface="Wingdings" charset="2"/>
        <a:buChar char="§"/>
        <a:tabLst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2514349" indent="-228578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48" userDrawn="1">
          <p15:clr>
            <a:srgbClr val="F26B43"/>
          </p15:clr>
        </p15:guide>
        <p15:guide id="2" orient="horz" pos="4152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488" userDrawn="1">
          <p15:clr>
            <a:srgbClr val="F26B43"/>
          </p15:clr>
        </p15:guide>
        <p15:guide id="5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mailto:IntegratedPartners@FirstData.com" TargetMode="Externa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091246" y="4073582"/>
            <a:ext cx="2820698" cy="1147496"/>
          </a:xfrm>
        </p:spPr>
        <p:txBody>
          <a:bodyPr/>
          <a:lstStyle/>
          <a:p>
            <a:r>
              <a:rPr lang="en-US" dirty="0" smtClean="0"/>
              <a:t>Integrated Partners Wrap Call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592236" y="6499412"/>
            <a:ext cx="25639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chemeClr val="bg1"/>
                </a:solidFill>
              </a:rPr>
              <a:t>February 11, 2019</a:t>
            </a:r>
            <a:endParaRPr lang="en-US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6136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234" y="111370"/>
            <a:ext cx="8128000" cy="563098"/>
          </a:xfrm>
        </p:spPr>
        <p:txBody>
          <a:bodyPr/>
          <a:lstStyle/>
          <a:p>
            <a:r>
              <a:rPr lang="en-US" dirty="0"/>
              <a:t>Discuss Next steps </a:t>
            </a:r>
            <a:r>
              <a:rPr lang="en-US" sz="2000" i="1" dirty="0"/>
              <a:t>– </a:t>
            </a:r>
            <a:r>
              <a:rPr lang="en-US" sz="2000" i="1" dirty="0" smtClean="0"/>
              <a:t>Solutions</a:t>
            </a:r>
            <a:endParaRPr lang="en-US" i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08103" y="6356354"/>
            <a:ext cx="6220226" cy="3667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10</a:t>
            </a:fld>
            <a:endParaRPr lang="en-US" alt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78965" y="1450927"/>
            <a:ext cx="7540682" cy="4338320"/>
          </a:xfrm>
        </p:spPr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en-US" sz="2000" dirty="0"/>
              <a:t>If Datawire Discuss Digi Cert and the plans to update merchant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000" dirty="0"/>
              <a:t>Do any of your merchants need to be converted from a previously certified solution (TPPID)?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000" dirty="0"/>
              <a:t>Do you need assistance from First Data to complete the conversion?</a:t>
            </a:r>
          </a:p>
        </p:txBody>
      </p:sp>
    </p:spTree>
    <p:extLst>
      <p:ext uri="{BB962C8B-B14F-4D97-AF65-F5344CB8AC3E}">
        <p14:creationId xmlns:p14="http://schemas.microsoft.com/office/powerpoint/2010/main" val="3524368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46184"/>
            <a:ext cx="10439399" cy="588109"/>
          </a:xfrm>
        </p:spPr>
        <p:txBody>
          <a:bodyPr/>
          <a:lstStyle/>
          <a:p>
            <a:r>
              <a:rPr lang="en-US" dirty="0"/>
              <a:t>First Data Contact Information </a:t>
            </a:r>
            <a:r>
              <a:rPr lang="en-US" sz="2000" i="1" dirty="0"/>
              <a:t>- Solution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08103" y="6356354"/>
            <a:ext cx="6372626" cy="3667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  <p:sp>
        <p:nvSpPr>
          <p:cNvPr id="6" name="Rectangle 5"/>
          <p:cNvSpPr/>
          <p:nvPr/>
        </p:nvSpPr>
        <p:spPr>
          <a:xfrm>
            <a:off x="363414" y="1335713"/>
            <a:ext cx="9976340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ached to this meeting request is a document that details how to contact First Data if you have a production or test issue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reem Hill is 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r Solutions Consultant and your primary technical point of contact.  You can contact him/her at any time if you would like to start up a new certification or discovery project.  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icia Jones is 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r Technical Account Manager for this project.  Contact her/him with questions and or concerns while you are in the production review stage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 can always send an email to </a:t>
            </a:r>
            <a:r>
              <a:rPr lang="en-US" sz="2000" u="sng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IntegratedPartners@FirstData.com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general questions or inquiries. </a:t>
            </a:r>
          </a:p>
        </p:txBody>
      </p:sp>
      <p:sp>
        <p:nvSpPr>
          <p:cNvPr id="7" name="Rectangle 6"/>
          <p:cNvSpPr/>
          <p:nvPr/>
        </p:nvSpPr>
        <p:spPr>
          <a:xfrm>
            <a:off x="363414" y="4613533"/>
            <a:ext cx="6085512" cy="4255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view changes needed to the partner contact sheet</a:t>
            </a: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98372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31038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ttendee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187723" y="6356359"/>
            <a:ext cx="5683289" cy="3667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968568" y="1168404"/>
            <a:ext cx="8035863" cy="5097926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Integrated Partners Solutions Consultant              	Kareem Hil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ertification Analyst                                                                 	Nashville – Rahul Mondal	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IPTAM Resource                                                        	Alicia Jone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84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ttachment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187723" y="6356359"/>
            <a:ext cx="5629501" cy="3667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en-US" dirty="0" smtClean="0"/>
              <a:t>Draft </a:t>
            </a:r>
            <a:r>
              <a:rPr lang="en-US" dirty="0"/>
              <a:t>copy of certification </a:t>
            </a:r>
            <a:r>
              <a:rPr lang="en-US" dirty="0" smtClean="0">
                <a:solidFill>
                  <a:schemeClr val="accent3"/>
                </a:solidFill>
              </a:rPr>
              <a:t>paperwork</a:t>
            </a:r>
            <a:endParaRPr lang="en-US" dirty="0">
              <a:solidFill>
                <a:schemeClr val="accent3"/>
              </a:solidFill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Current solutions listed by First Data 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Go-live Test Script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Directions on how to report a production issue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Contact Info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2450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r>
              <a:rPr lang="en-US" dirty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i="1" dirty="0" smtClean="0"/>
              <a:t>Solutions</a:t>
            </a:r>
            <a:endParaRPr lang="en-US" sz="2000" i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187723" y="6356359"/>
            <a:ext cx="6068771" cy="3667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4</a:t>
            </a:fld>
            <a:endParaRPr lang="en-US" alt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442375" y="1370911"/>
            <a:ext cx="69783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</a:rPr>
              <a:t>Introductions</a:t>
            </a:r>
          </a:p>
          <a:p>
            <a:endParaRPr lang="en-US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</a:rPr>
              <a:t>Partner responsibilities </a:t>
            </a:r>
          </a:p>
          <a:p>
            <a:endParaRPr lang="en-US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</a:rPr>
              <a:t>Review draft of certification </a:t>
            </a:r>
            <a:r>
              <a:rPr lang="en-US" dirty="0" smtClean="0">
                <a:solidFill>
                  <a:schemeClr val="accent3"/>
                </a:solidFill>
              </a:rPr>
              <a:t>paperwork</a:t>
            </a:r>
          </a:p>
          <a:p>
            <a:endParaRPr lang="en-US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</a:rPr>
              <a:t>Discuss go live (if required) </a:t>
            </a:r>
          </a:p>
          <a:p>
            <a:endParaRPr lang="en-US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</a:rPr>
              <a:t>Discuss production review</a:t>
            </a:r>
          </a:p>
          <a:p>
            <a:endParaRPr lang="en-US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</a:rPr>
              <a:t>Discuss next ste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3823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234" y="380886"/>
            <a:ext cx="3686907" cy="846133"/>
          </a:xfrm>
        </p:spPr>
        <p:txBody>
          <a:bodyPr/>
          <a:lstStyle/>
          <a:p>
            <a:r>
              <a:rPr lang="en-US" dirty="0" smtClean="0"/>
              <a:t>Introductions -</a:t>
            </a:r>
            <a:r>
              <a:rPr lang="en-US" sz="2000" i="1" dirty="0" smtClean="0"/>
              <a:t>Solutions</a:t>
            </a:r>
            <a:endParaRPr lang="en-US" sz="2000" i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187723" y="6356359"/>
            <a:ext cx="6517006" cy="3667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Introduce all participant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High level overview of projec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iscussion on which solutions should remain listed</a:t>
            </a:r>
          </a:p>
        </p:txBody>
      </p:sp>
    </p:spTree>
    <p:extLst>
      <p:ext uri="{BB962C8B-B14F-4D97-AF65-F5344CB8AC3E}">
        <p14:creationId xmlns:p14="http://schemas.microsoft.com/office/powerpoint/2010/main" val="12390405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385" y="304800"/>
            <a:ext cx="10439399" cy="582247"/>
          </a:xfrm>
        </p:spPr>
        <p:txBody>
          <a:bodyPr/>
          <a:lstStyle/>
          <a:p>
            <a:r>
              <a:rPr lang="en-US" dirty="0"/>
              <a:t>Partner </a:t>
            </a:r>
            <a:r>
              <a:rPr lang="en-US" dirty="0" smtClean="0"/>
              <a:t>Responsibilities - </a:t>
            </a:r>
            <a:r>
              <a:rPr lang="en-US" sz="2000" i="1" dirty="0" smtClean="0"/>
              <a:t>Solutions</a:t>
            </a:r>
            <a:endParaRPr lang="en-US" sz="2000" i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08102" y="6356354"/>
            <a:ext cx="5467191" cy="3667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6</a:t>
            </a:fld>
            <a:endParaRPr lang="en-US" altLang="en-US" dirty="0"/>
          </a:p>
        </p:txBody>
      </p:sp>
      <p:sp>
        <p:nvSpPr>
          <p:cNvPr id="5" name="Rectangle 4"/>
          <p:cNvSpPr/>
          <p:nvPr/>
        </p:nvSpPr>
        <p:spPr>
          <a:xfrm>
            <a:off x="401743" y="1303970"/>
            <a:ext cx="10500720" cy="39149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en-US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me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the call </a:t>
            </a:r>
            <a:r>
              <a:rPr lang="en-US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pared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view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aft of the certification paperwork 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f possible have the name/mid of the first merchant that will  be used for the go live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view list of your currently certified solutions and be prepared to discussed if any can be delisted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date the contacts that we have for you.  Please add, delete, or re-categorize as needed.  Pay particular attention to ensure that we have the correct contact for the following:</a:t>
            </a:r>
          </a:p>
          <a:p>
            <a:pPr marL="742950" marR="0" lvl="1" indent="-2857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4x7 Production NOC Contact</a:t>
            </a:r>
          </a:p>
          <a:p>
            <a:pPr marL="742950" marR="0" lvl="1" indent="-2857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financial contact If you are a TPSP, or if we have other reasons to bill you</a:t>
            </a:r>
          </a:p>
          <a:p>
            <a:pPr marL="742950" marR="0" lvl="1" indent="-2857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business development contact if you are interested in being contacted for a referral partner agreement</a:t>
            </a:r>
          </a:p>
          <a:p>
            <a:pPr marL="742950" marR="0" lvl="1" indent="-2857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chnical Contact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 ready to discuss your production rollout plans with as much detail as possible.  </a:t>
            </a:r>
            <a:endParaRPr lang="en-US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77365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234" y="181591"/>
            <a:ext cx="8740058" cy="846133"/>
          </a:xfrm>
        </p:spPr>
        <p:txBody>
          <a:bodyPr/>
          <a:lstStyle/>
          <a:p>
            <a:r>
              <a:rPr lang="en-US" dirty="0"/>
              <a:t>Review draft of certification documentation </a:t>
            </a:r>
            <a:r>
              <a:rPr lang="en-US" dirty="0" smtClean="0"/>
              <a:t> </a:t>
            </a:r>
            <a:r>
              <a:rPr lang="en-US" sz="2000" dirty="0" smtClean="0"/>
              <a:t>-</a:t>
            </a:r>
            <a:r>
              <a:rPr lang="en-US" sz="2400" dirty="0" smtClean="0"/>
              <a:t> </a:t>
            </a:r>
            <a:r>
              <a:rPr lang="en-US" sz="2000" i="1" dirty="0"/>
              <a:t>Certification Analyst</a:t>
            </a:r>
            <a:endParaRPr lang="en-US" sz="2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08102" y="6356354"/>
            <a:ext cx="5467192" cy="3667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  <p:sp>
        <p:nvSpPr>
          <p:cNvPr id="5" name="Rectangle 4"/>
          <p:cNvSpPr/>
          <p:nvPr/>
        </p:nvSpPr>
        <p:spPr>
          <a:xfrm>
            <a:off x="222233" y="1542096"/>
            <a:ext cx="7303981" cy="2569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rtification </a:t>
            </a: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yst reviews 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raft certification paperwork line by line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tner should be sure that each line is correct and that everything that was tested is </a:t>
            </a: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ed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y waivers will be discussed as well as a plan to resolve</a:t>
            </a:r>
            <a:endParaRPr lang="en-US" sz="2000" dirty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rtification Analyst will make the agreed to changes and send a final </a:t>
            </a: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py after the project has completed certification</a:t>
            </a:r>
            <a:endParaRPr lang="en-US" sz="2000" dirty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76960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234" y="252046"/>
            <a:ext cx="10479092" cy="552940"/>
          </a:xfrm>
        </p:spPr>
        <p:txBody>
          <a:bodyPr/>
          <a:lstStyle/>
          <a:p>
            <a:r>
              <a:rPr lang="en-US" dirty="0"/>
              <a:t>Discuss go-live </a:t>
            </a:r>
            <a:r>
              <a:rPr lang="en-US" sz="2400" dirty="0"/>
              <a:t>(if required) </a:t>
            </a:r>
            <a:r>
              <a:rPr lang="en-US" sz="2000" dirty="0" smtClean="0"/>
              <a:t>–  </a:t>
            </a:r>
            <a:r>
              <a:rPr lang="en-US" sz="2000" i="1" dirty="0"/>
              <a:t>Certification Analyst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08103" y="6356354"/>
            <a:ext cx="6596744" cy="366713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  <p:sp>
        <p:nvSpPr>
          <p:cNvPr id="6" name="Rectangle 5"/>
          <p:cNvSpPr/>
          <p:nvPr/>
        </p:nvSpPr>
        <p:spPr>
          <a:xfrm>
            <a:off x="293077" y="1305824"/>
            <a:ext cx="8909538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-lives are </a:t>
            </a:r>
            <a:r>
              <a:rPr lang="en-US" sz="2000" b="1" i="1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formed on </a:t>
            </a: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yPass 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rect, Compass, or Omaha Direct certifications</a:t>
            </a:r>
          </a:p>
        </p:txBody>
      </p:sp>
      <p:sp>
        <p:nvSpPr>
          <p:cNvPr id="7" name="Rectangle 6"/>
          <p:cNvSpPr/>
          <p:nvPr/>
        </p:nvSpPr>
        <p:spPr>
          <a:xfrm>
            <a:off x="293077" y="2085268"/>
            <a:ext cx="8786446" cy="2816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tner must be prepared 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send the scripted transactions to the production </a:t>
            </a: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rt for the go-live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D/TID will be supplied by the merchant’s account representative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endParaRPr lang="en-US" sz="2000" dirty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Y IMPORTANT:  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rst Data does not provide production cards for a </a:t>
            </a:r>
            <a:r>
              <a:rPr lang="en-US" sz="2000" dirty="0" smtClean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-live.  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 will be required to use your own or borrowed cards.  </a:t>
            </a:r>
            <a:r>
              <a:rPr lang="en-US" sz="2000" b="1" dirty="0">
                <a:solidFill>
                  <a:schemeClr val="tx2"/>
                </a:solidFill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f you do not have the proper cards, the test will fail and you will have to reschedule</a:t>
            </a:r>
            <a:r>
              <a:rPr lang="en-US" sz="2000" dirty="0">
                <a:solidFill>
                  <a:schemeClr val="tx2"/>
                </a:solidFill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6050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6761"/>
            <a:ext cx="9332814" cy="597994"/>
          </a:xfrm>
        </p:spPr>
        <p:txBody>
          <a:bodyPr/>
          <a:lstStyle/>
          <a:p>
            <a:r>
              <a:rPr lang="en-US" dirty="0"/>
              <a:t>Discuss production review </a:t>
            </a:r>
            <a:r>
              <a:rPr lang="en-US" sz="2000" i="1" dirty="0"/>
              <a:t>- </a:t>
            </a:r>
            <a:r>
              <a:rPr lang="en-US" sz="2000" i="1" dirty="0" smtClean="0"/>
              <a:t>IPTAM</a:t>
            </a:r>
            <a:endParaRPr lang="en-US" sz="2000" i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08102" y="6356354"/>
            <a:ext cx="7215309" cy="3667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© 2019 First Data Corporation. All Rights Reserved.                                                       2/11/19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06E63B-1E0C-4C6A-8DC7-2104C5BDDBED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304800" y="1165423"/>
            <a:ext cx="9923585" cy="4754732"/>
          </a:xfrm>
        </p:spPr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en-US" sz="1800" dirty="0"/>
              <a:t>First Data now conducts Production Reviews on all new certification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1F497D"/>
                </a:solidFill>
                <a:ea typeface="Calibri" panose="020F0502020204030204" pitchFamily="34" charset="0"/>
              </a:rPr>
              <a:t>For </a:t>
            </a:r>
            <a:r>
              <a:rPr lang="en-US" sz="1800" dirty="0">
                <a:solidFill>
                  <a:srgbClr val="1F497D"/>
                </a:solidFill>
                <a:ea typeface="Calibri" panose="020F0502020204030204" pitchFamily="34" charset="0"/>
              </a:rPr>
              <a:t>the 1</a:t>
            </a:r>
            <a:r>
              <a:rPr lang="en-US" sz="1800" baseline="30000" dirty="0">
                <a:solidFill>
                  <a:srgbClr val="1F497D"/>
                </a:solidFill>
                <a:ea typeface="Calibri" panose="020F0502020204030204" pitchFamily="34" charset="0"/>
              </a:rPr>
              <a:t>st</a:t>
            </a:r>
            <a:r>
              <a:rPr lang="en-US" sz="1800" dirty="0">
                <a:solidFill>
                  <a:srgbClr val="1F497D"/>
                </a:solidFill>
                <a:ea typeface="Calibri" panose="020F0502020204030204" pitchFamily="34" charset="0"/>
              </a:rPr>
              <a:t> month after the Go Live, we will check for high declines, interchange downgrades, or any other common problems and advise if any issues</a:t>
            </a:r>
            <a:r>
              <a:rPr lang="en-US" sz="1800" dirty="0" smtClean="0">
                <a:solidFill>
                  <a:srgbClr val="1F497D"/>
                </a:solidFill>
                <a:ea typeface="Calibri" panose="020F0502020204030204" pitchFamily="34" charset="0"/>
              </a:rPr>
              <a:t>.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1800" dirty="0" smtClean="0"/>
              <a:t>Partner responsibilities for the production revie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Provide </a:t>
            </a:r>
            <a:r>
              <a:rPr lang="en-US" sz="1800" dirty="0"/>
              <a:t>IPTAM with your move to production plan including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800" dirty="0"/>
              <a:t>Dates </a:t>
            </a:r>
            <a:r>
              <a:rPr lang="en-US" sz="1800" dirty="0" smtClean="0"/>
              <a:t>that </a:t>
            </a:r>
            <a:r>
              <a:rPr lang="en-US" sz="1800" dirty="0"/>
              <a:t>you will implement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800" dirty="0"/>
              <a:t>MIDs and TID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1800" dirty="0"/>
              <a:t>If you are a gateway and implement all merchants simultaneously, please provide a small list of merchants that would be a good representation of this solut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Best Practice:  First Data recommends </a:t>
            </a:r>
            <a:r>
              <a:rPr lang="en-US" sz="1800" dirty="0" smtClean="0"/>
              <a:t>that </a:t>
            </a:r>
            <a:r>
              <a:rPr lang="en-US" sz="1800" dirty="0"/>
              <a:t>you have a burn in period with a small number of merchants until you are confident that this new solution will not have a negative on our mutual clients.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579056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4_FD_Theme_Colors">
  <a:themeElements>
    <a:clrScheme name="FD_040417">
      <a:dk1>
        <a:srgbClr val="000000"/>
      </a:dk1>
      <a:lt1>
        <a:srgbClr val="FFFFFF"/>
      </a:lt1>
      <a:dk2>
        <a:srgbClr val="004165"/>
      </a:dk2>
      <a:lt2>
        <a:srgbClr val="B6ADA5"/>
      </a:lt2>
      <a:accent1>
        <a:srgbClr val="0072CE"/>
      </a:accent1>
      <a:accent2>
        <a:srgbClr val="43B02A"/>
      </a:accent2>
      <a:accent3>
        <a:srgbClr val="004165"/>
      </a:accent3>
      <a:accent4>
        <a:srgbClr val="00A9E0"/>
      </a:accent4>
      <a:accent5>
        <a:srgbClr val="92C1E9"/>
      </a:accent5>
      <a:accent6>
        <a:srgbClr val="616365"/>
      </a:accent6>
      <a:hlink>
        <a:srgbClr val="43B02A"/>
      </a:hlink>
      <a:folHlink>
        <a:srgbClr val="FFD1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D_Theme_Colors" id="{7591F135-67DC-BB4C-A67D-542B0C0BD265}" vid="{DDA8CAD6-0A44-A144-B3C2-1C6F9C4EDB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8B7C01B407B344AE537E2EB09339F6" ma:contentTypeVersion="1" ma:contentTypeDescription="Create a new document." ma:contentTypeScope="" ma:versionID="888de18bb5ec0a454f131c9aaad412ce">
  <xsd:schema xmlns:xsd="http://www.w3.org/2001/XMLSchema" xmlns:xs="http://www.w3.org/2001/XMLSchema" xmlns:p="http://schemas.microsoft.com/office/2006/metadata/properties" xmlns:ns2="2f25beff-5db0-4907-b7a7-b343a891dad7" targetNamespace="http://schemas.microsoft.com/office/2006/metadata/properties" ma:root="true" ma:fieldsID="c8d27f00ca03f9433425b2baf8650802" ns2:_="">
    <xsd:import namespace="2f25beff-5db0-4907-b7a7-b343a891dad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25beff-5db0-4907-b7a7-b343a891dad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2f25beff-5db0-4907-b7a7-b343a891dad7">2YE7UJZHAW7U-94-8022</_dlc_DocId>
    <_dlc_DocIdUrl xmlns="2f25beff-5db0-4907-b7a7-b343a891dad7">
      <Url>https://sharepoint.1dc.com/sites/productoperations/ProductTeam/gpm/_layouts/DocIdRedir.aspx?ID=2YE7UJZHAW7U-94-8022</Url>
      <Description>2YE7UJZHAW7U-94-8022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45383C6-B15C-434A-826E-4EA8E02843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25beff-5db0-4907-b7a7-b343a891da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CCF40F-92EA-4162-BB9C-7E1AD2471FA9}">
  <ds:schemaRefs>
    <ds:schemaRef ds:uri="http://www.w3.org/XML/1998/namespace"/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2f25beff-5db0-4907-b7a7-b343a891dad7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4E8FFE6-9566-4B15-896E-B22A3BAEB7F3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DB58591-2E8F-4358-9468-1D1B844C186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7</Words>
  <Application>Microsoft Office PowerPoint</Application>
  <PresentationFormat>Widescreen</PresentationFormat>
  <Paragraphs>8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entury Gothic</vt:lpstr>
      <vt:lpstr>Courier New</vt:lpstr>
      <vt:lpstr>Symbol</vt:lpstr>
      <vt:lpstr>Times New Roman</vt:lpstr>
      <vt:lpstr>Wingdings</vt:lpstr>
      <vt:lpstr>14_FD_Theme_Colors</vt:lpstr>
      <vt:lpstr>think-cell Slide</vt:lpstr>
      <vt:lpstr>Integrated Partners Wrap Call </vt:lpstr>
      <vt:lpstr>Attendees</vt:lpstr>
      <vt:lpstr>Attachments</vt:lpstr>
      <vt:lpstr>Agenda  Solutions</vt:lpstr>
      <vt:lpstr>Introductions -Solutions</vt:lpstr>
      <vt:lpstr>Partner Responsibilities - Solutions</vt:lpstr>
      <vt:lpstr>Review draft of certification documentation  - Certification Analyst</vt:lpstr>
      <vt:lpstr>Discuss go-live (if required) –  Certification Analyst</vt:lpstr>
      <vt:lpstr>Discuss production review - IPTAM</vt:lpstr>
      <vt:lpstr>Discuss Next steps – Solutions</vt:lpstr>
      <vt:lpstr>First Data Contact Information - Solutio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st Data Widescreen Angle PowerPoint Template</dc:title>
  <dc:creator/>
  <cp:lastModifiedBy/>
  <cp:revision>1</cp:revision>
  <dcterms:created xsi:type="dcterms:W3CDTF">2018-02-14T20:10:25Z</dcterms:created>
  <dcterms:modified xsi:type="dcterms:W3CDTF">2019-11-19T14:5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8B7C01B407B344AE537E2EB09339F6</vt:lpwstr>
  </property>
  <property fmtid="{D5CDD505-2E9C-101B-9397-08002B2CF9AE}" pid="3" name="_dlc_DocIdItemGuid">
    <vt:lpwstr>0531b839-3c68-4e3a-8038-3ee8ddb37ff5</vt:lpwstr>
  </property>
</Properties>
</file>